
<file path=[Content_Types].xml><?xml version="1.0" encoding="utf-8"?>
<Types xmlns="http://schemas.openxmlformats.org/package/2006/content-types">
  <Default ContentType="image/jpeg" Extension="jpg"/>
  <Default ContentType="application/vnd.openxmlformats-officedocument.vmlDrawing" Extension="vml"/>
  <Default ContentType="application/vnd.openxmlformats-officedocument.oleObject" Extension="bin"/>
  <Default ContentType="application/xml" Extension="xml"/>
  <Default ContentType="image/png" Extension="png"/>
  <Default ContentType="application/vnd.openxmlformats-package.relationships+xml" Extension="rels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3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4.xml"/>
  <Override ContentType="application/vnd.openxmlformats-officedocument.presentationml.slide+xml" PartName="/ppt/slides/slide1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6.xml"/>
  <Override ContentType="application/vnd.openxmlformats-officedocument.presentationml.slide+xml" PartName="/ppt/slides/slide9.xml"/>
  <Override ContentType="application/vnd.openxmlformats-officedocument.presentationml.slide+xml" PartName="/ppt/slides/slide5.xml"/>
  <Override ContentType="application/vnd.openxmlformats-officedocument.presentationml.slide+xml" PartName="/ppt/slides/slide8.xml"/>
  <Override ContentType="application/vnd.openxmlformats-officedocument.presentationml.slide+xml" PartName="/ppt/slides/slide7.xml"/>
  <Override ContentType="application/vnd.openxmlformats-officedocument.oleObject" PartName="/ppt/embeddings/oleObject9.bin"/>
  <Override ContentType="application/vnd.openxmlformats-officedocument.oleObject" PartName="/ppt/embeddings/oleObject3.bin"/>
  <Override ContentType="application/vnd.openxmlformats-officedocument.oleObject" PartName="/ppt/embeddings/oleObject6.bin"/>
  <Override ContentType="application/vnd.openxmlformats-officedocument.oleObject" PartName="/ppt/embeddings/oleObject5.bin"/>
  <Override ContentType="application/vnd.openxmlformats-officedocument.oleObject" PartName="/ppt/embeddings/oleObject4.bin"/>
  <Override ContentType="application/vnd.openxmlformats-officedocument.oleObject" PartName="/ppt/embeddings/oleObject7.bin"/>
  <Override ContentType="application/vnd.openxmlformats-officedocument.oleObject" PartName="/ppt/embeddings/oleObject2.bin"/>
  <Override ContentType="application/vnd.openxmlformats-officedocument.oleObject" PartName="/ppt/embeddings/oleObject1.bin"/>
  <Override ContentType="application/vnd.openxmlformats-officedocument.oleObject" PartName="/ppt/embeddings/oleObject8.bin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openxmlformats-officedocument.theme+xml" PartName="/ppt/theme/theme1.xml"/>
  <Override ContentType="application/vnd.openxmlformats-officedocument.theme+xml" PartName="/ppt/theme/theme6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theme+xml" PartName="/ppt/theme/theme4.xml"/>
  <Override ContentType="application/vnd.openxmlformats-officedocument.theme+xml" PartName="/ppt/theme/theme5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10.xml"/>
  <Override ContentType="application/vnd.openxmlformats-officedocument.custom-properties+xml" PartName="/docProps/custom.xml"/>
  <Override ContentType="application/binary" PartName="/ppt/metadata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  <Override ContentType="application/vnd.openxmlformats-officedocument.presentationml.viewProps+xml" PartName="/ppt/viewProps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custom-properties" Target="docProps/custom.xml"/><Relationship Id="rId2" Type="http://schemas.openxmlformats.org/package/2006/relationships/metadata/core-properties" Target="docProps/core.xml"/><Relationship Id="rId3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autoCompressPictures="0" strictFirstAndLastChars="0" saveSubsetFonts="1" showSpecialPlsOnTitleSld="0">
  <p:sldMasterIdLst>
    <p:sldMasterId id="2147483648" r:id="rId5"/>
    <p:sldMasterId id="2147483661" r:id="rId6"/>
    <p:sldMasterId id="2147483674" r:id="rId7"/>
    <p:sldMasterId id="2147483686" r:id="rId8"/>
    <p:sldMasterId id="2147483691" r:id="rId9"/>
  </p:sldMasterIdLst>
  <p:notesMasterIdLst>
    <p:notesMasterId r:id="rId10"/>
  </p:notesMasterIdLst>
  <p:sldIdLst>
    <p:sldId id="256" r:id="rId11"/>
    <p:sldId id="257" r:id="rId12"/>
    <p:sldId id="258" r:id="rId13"/>
    <p:sldId id="259" r:id="rId14"/>
    <p:sldId id="260" r:id="rId15"/>
    <p:sldId id="261" r:id="rId16"/>
    <p:sldId id="262" r:id="rId17"/>
    <p:sldId id="263" r:id="rId18"/>
    <p:sldId id="264" r:id="rId19"/>
    <p:sldId id="265" r:id="rId20"/>
  </p:sldIdLst>
  <p:sldSz cy="6858000" cx="9144000"/>
  <p:notesSz cx="6934200" cy="9220200"/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>
        <p15:guide id="1" orient="horz" pos="2904">
          <p15:clr>
            <a:srgbClr val="A4A3A4"/>
          </p15:clr>
        </p15:guide>
        <p15:guide id="2" pos="2184">
          <p15:clr>
            <a:srgbClr val="A4A3A4"/>
          </p15:clr>
        </p15:guide>
      </p15:notesGuideLst>
    </p:ext>
    <p:ext uri="http://customooxmlschemas.google.com/">
      <go:slidesCustomData xmlns:go="http://customooxmlschemas.google.com/" r:id="rId21" roundtripDataSignature="AMtx7mivb4KFGfl2QfWMQO5PYJNJstNL6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/>
</file>

<file path=ppt/tableStyles.xml><?xml version="1.0" encoding="utf-8"?>
<a:tblStyleLst xmlns:a="http://schemas.openxmlformats.org/drawingml/2006/main" xmlns:r="http://schemas.openxmlformats.org/officeDocument/2006/relationships" def="{B0F90B08-ABA3-4778-8C1C-1D725FD4D2CB}">
  <a:tblStyle styleId="{B0F90B08-ABA3-4778-8C1C-1D725FD4D2CB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left>
          <a:right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right>
          <a:top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top>
          <a:bottom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bottom>
          <a:insideH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insideH>
          <a:insideV>
            <a:ln cap="flat" cmpd="sng" w="127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insideV>
        </a:tcBdr>
        <a:fill>
          <a:solidFill>
            <a:srgbClr val="EFF1F5"/>
          </a:solidFill>
        </a:fill>
      </a:tcStyle>
    </a:wholeTbl>
    <a:band1H>
      <a:tcTxStyle/>
      <a:tcStyle>
        <a:fill>
          <a:solidFill>
            <a:srgbClr val="DDE2EB"/>
          </a:solidFill>
        </a:fill>
      </a:tcStyle>
    </a:band1H>
    <a:band2H>
      <a:tcTxStyle/>
    </a:band2H>
    <a:band1V>
      <a:tcTxStyle/>
      <a:tcStyle>
        <a:fill>
          <a:solidFill>
            <a:srgbClr val="DDE2EB"/>
          </a:solidFill>
        </a:fill>
      </a:tcStyle>
    </a:band1V>
    <a:band2V>
      <a:tcTxStyle/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2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2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cap="flat" cmpd="sng" w="381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top>
        </a:tcBdr>
        <a:fill>
          <a:solidFill>
            <a:schemeClr val="accent2"/>
          </a:solidFill>
        </a:fill>
      </a:tcStyle>
    </a:lastRow>
    <a:seCell>
      <a:tcTxStyle/>
    </a:seCell>
    <a:swCell>
      <a:tcTxStyle/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cap="flat" cmpd="sng" w="381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a:bottom>
        </a:tcBdr>
        <a:fill>
          <a:solidFill>
            <a:schemeClr val="accent2"/>
          </a:solidFill>
        </a:fill>
      </a:tcStyle>
    </a:firstRow>
    <a:neCell>
      <a:tcTxStyle/>
    </a:neCell>
    <a:nwCell>
      <a:tcTxStyle/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160" orient="horz"/>
        <p:guide pos="2880"/>
      </p:guideLst>
    </p:cSldViewPr>
  </p:slide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pos="2904" orient="horz"/>
        <p:guide pos="2184"/>
      </p:guideLst>
    </p:cSldViewPr>
  </p:notes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slide" Target="slides/slide10.xml"/><Relationship Id="rId11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21" Type="http://customschemas.google.com/relationships/presentationmetadata" Target="metadata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" Type="http://schemas.openxmlformats.org/officeDocument/2006/relationships/theme" Target="theme/theme1.xml"/><Relationship Id="rId2" Type="http://schemas.openxmlformats.org/officeDocument/2006/relationships/viewProps" Target="viewProps.xml"/><Relationship Id="rId3" Type="http://schemas.openxmlformats.org/officeDocument/2006/relationships/presProps" Target="presProps.xml"/><Relationship Id="rId4" Type="http://schemas.openxmlformats.org/officeDocument/2006/relationships/tableStyles" Target="tableStyles.xml"/><Relationship Id="rId9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6" Type="http://schemas.openxmlformats.org/officeDocument/2006/relationships/slideMaster" Target="slideMasters/slideMaster2.xml"/><Relationship Id="rId18" Type="http://schemas.openxmlformats.org/officeDocument/2006/relationships/slide" Target="slides/slide8.xml"/><Relationship Id="rId7" Type="http://schemas.openxmlformats.org/officeDocument/2006/relationships/slideMaster" Target="slideMasters/slideMaster3.xml"/><Relationship Id="rId8" Type="http://schemas.openxmlformats.org/officeDocument/2006/relationships/slideMaster" Target="slideMasters/slideMaster4.xml"/></Relationships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6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/>
          <p:nvPr>
            <p:ph idx="2" type="hdr"/>
          </p:nvPr>
        </p:nvSpPr>
        <p:spPr>
          <a:xfrm>
            <a:off x="0" y="0"/>
            <a:ext cx="3003550" cy="45878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1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4" name="Google Shape;4;n"/>
          <p:cNvSpPr txBox="1"/>
          <p:nvPr>
            <p:ph idx="10" type="dt"/>
          </p:nvPr>
        </p:nvSpPr>
        <p:spPr>
          <a:xfrm>
            <a:off x="3929064" y="0"/>
            <a:ext cx="3003550" cy="45878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>
            <a:lvl1pPr lvl="0" marR="0" rt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1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5" name="Google Shape;5;n"/>
          <p:cNvSpPr/>
          <p:nvPr>
            <p:ph idx="3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6" name="Google Shape;6;n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>
            <a:lvl1pPr indent="-228600" lvl="0" marL="457200" marR="0" rtl="0" algn="l">
              <a:spcBef>
                <a:spcPts val="36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228600" lvl="1" marL="914400" marR="0" rtl="0" algn="l">
              <a:spcBef>
                <a:spcPts val="36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228600" lvl="2" marL="1371600" marR="0" rtl="0" algn="l">
              <a:spcBef>
                <a:spcPts val="36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228600" lvl="3" marL="1828800" marR="0" rtl="0" algn="l">
              <a:spcBef>
                <a:spcPts val="36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228600" lvl="4" marL="2286000" marR="0" rtl="0" algn="l">
              <a:spcBef>
                <a:spcPts val="36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-228600" lvl="6" marL="32004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-228600" lvl="7" marL="36576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-228600" lvl="8" marL="41148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7" name="Google Shape;7;n"/>
          <p:cNvSpPr txBox="1"/>
          <p:nvPr>
            <p:ph idx="11" type="ftr"/>
          </p:nvPr>
        </p:nvSpPr>
        <p:spPr>
          <a:xfrm>
            <a:off x="0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1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4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8" name="Google Shape;8;n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b="0" i="0" lang="en-US" sz="11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b="0" i="0" sz="11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19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1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221" name="Google Shape;221;p1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22" name="Google Shape;222;p1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</a:rPr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326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10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28" name="Google Shape;328;p10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329" name="Google Shape;329;p10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29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2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231" name="Google Shape;231;p2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32" name="Google Shape;232;p2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39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3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36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41" name="Google Shape;241;p3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53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4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255" name="Google Shape;255;p4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6" name="Google Shape;256;p4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65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5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267" name="Google Shape;267;p5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68" name="Google Shape;268;p5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87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6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289" name="Google Shape;289;p6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90" name="Google Shape;290;p6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300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7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02" name="Google Shape;302;p7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303" name="Google Shape;303;p7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308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8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10" name="Google Shape;310;p8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311" name="Google Shape;311;p8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316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Google Shape;317;p9:notes"/>
          <p:cNvSpPr/>
          <p:nvPr>
            <p:ph idx="2" type="sldImg"/>
          </p:nvPr>
        </p:nvSpPr>
        <p:spPr>
          <a:xfrm>
            <a:off x="1163638" y="693738"/>
            <a:ext cx="4606925" cy="3455987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rgbClr val="000000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318" name="Google Shape;318;p9:notes"/>
          <p:cNvSpPr txBox="1"/>
          <p:nvPr>
            <p:ph idx="1" type="body"/>
          </p:nvPr>
        </p:nvSpPr>
        <p:spPr>
          <a:xfrm>
            <a:off x="690566" y="4378330"/>
            <a:ext cx="5553075" cy="4148138"/>
          </a:xfrm>
          <a:prstGeom prst="rect">
            <a:avLst/>
          </a:prstGeom>
          <a:noFill/>
          <a:ln>
            <a:noFill/>
          </a:ln>
        </p:spPr>
        <p:txBody>
          <a:bodyPr anchorCtr="0" anchor="t" bIns="44400" lIns="88800" spcFirstLastPara="1" rIns="88800" wrap="square" tIns="444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319" name="Google Shape;319;p9:notes"/>
          <p:cNvSpPr txBox="1"/>
          <p:nvPr>
            <p:ph idx="12" type="sldNum"/>
          </p:nvPr>
        </p:nvSpPr>
        <p:spPr>
          <a:xfrm>
            <a:off x="3929064" y="8761415"/>
            <a:ext cx="3003550" cy="457200"/>
          </a:xfrm>
          <a:prstGeom prst="rect">
            <a:avLst/>
          </a:prstGeom>
          <a:noFill/>
          <a:ln>
            <a:noFill/>
          </a:ln>
        </p:spPr>
        <p:txBody>
          <a:bodyPr anchorCtr="0" anchor="b" bIns="44400" lIns="88800" spcFirstLastPara="1" rIns="88800" wrap="square" tIns="444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vmlDrawing" Target="../drawings/vmlDrawing6.vml"/><Relationship Id="rId3" Type="http://schemas.openxmlformats.org/officeDocument/2006/relationships/oleObject" Target="../embeddings/oleObject4.bin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png"/></Relationships>
</file>

<file path=ppt/slideLayouts/_rels/slideLayout1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vmlDrawing" Target="../drawings/vmlDrawing7.vml"/><Relationship Id="rId3" Type="http://schemas.openxmlformats.org/officeDocument/2006/relationships/oleObject" Target="../embeddings/oleObject5.bin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png"/><Relationship Id="rId6" Type="http://schemas.openxmlformats.org/officeDocument/2006/relationships/image" Target="../media/image2.png"/></Relationships>
</file>

<file path=ppt/slideLayouts/_rels/slideLayout2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2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vmlDrawing" Target="../drawings/vmlDrawing8.vml"/><Relationship Id="rId3" Type="http://schemas.openxmlformats.org/officeDocument/2006/relationships/oleObject" Target="../embeddings/oleObject7.bin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png"/><Relationship Id="rId6" Type="http://schemas.openxmlformats.org/officeDocument/2006/relationships/image" Target="../media/image2.png"/></Relationships>
</file>

<file path=ppt/slideLayouts/_rels/slideLayout3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3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png"/></Relationships>
</file>

<file path=ppt/slideLayouts/_rels/slideLayout4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vmlDrawing" Target="../drawings/vmlDrawing9.vml"/><Relationship Id="rId3" Type="http://schemas.openxmlformats.org/officeDocument/2006/relationships/oleObject" Target="../embeddings/oleObject9.bin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png"/><Relationship Id="rId6" Type="http://schemas.openxmlformats.org/officeDocument/2006/relationships/image" Target="../media/image2.png"/></Relationships>
</file>

<file path=ppt/slideLayouts/_rels/slideLayout4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4.vml"/><Relationship Id="rId3" Type="http://schemas.openxmlformats.org/officeDocument/2006/relationships/oleObject" Target="../embeddings/oleObject2.bin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png"/><Relationship Id="rId6" Type="http://schemas.openxmlformats.org/officeDocument/2006/relationships/image" Target="../media/image2.png"/></Relationships>
</file>

<file path=ppt/slideLayouts/_rels/slideLayout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vmlDrawing" Target="../drawings/vmlDrawing5.vml"/><Relationship Id="rId3" Type="http://schemas.openxmlformats.org/officeDocument/2006/relationships/oleObject" Target="../embeddings/oleObject3.bin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png"/></Relationships>
</file>

<file path=ppt/slideLayouts/_rels/slideLayout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&amp; Subtitle">
  <p:cSld name="Title &amp; Subtitle">
    <p:spTree>
      <p:nvGrpSpPr>
        <p:cNvPr id="15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Picture with Caption" type="picTx">
  <p:cSld name="PICTURE_WITH_CAPTION_TEXT">
    <p:spTree>
      <p:nvGrpSpPr>
        <p:cNvPr id="48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34"/>
          <p:cNvSpPr txBox="1"/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0" name="Google Shape;50;p34"/>
          <p:cNvSpPr/>
          <p:nvPr>
            <p:ph idx="2" type="pic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Noto Sans Symbols"/>
              <a:buNone/>
              <a:defRPr b="0" i="0" sz="32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b="0" i="0" sz="28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Noto Sans Symbols"/>
              <a:buNone/>
              <a:defRPr b="0" i="0" sz="2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51" name="Google Shape;51;p34"/>
          <p:cNvSpPr txBox="1"/>
          <p:nvPr>
            <p:ph idx="1" type="body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Vertical Text" type="vertTx">
  <p:cSld name="VERTICAL_TEXT">
    <p:spTree>
      <p:nvGrpSpPr>
        <p:cNvPr id="52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35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4" name="Google Shape;54;p35"/>
          <p:cNvSpPr txBox="1"/>
          <p:nvPr>
            <p:ph idx="1" type="body"/>
          </p:nvPr>
        </p:nvSpPr>
        <p:spPr>
          <a:xfrm rot="5400000">
            <a:off x="2133601" y="-696912"/>
            <a:ext cx="4876800" cy="88614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Vertical Title and Text" type="vertTitleAndTx">
  <p:cSld name="VERTICAL_TITLE_AND_VERTICAL_TEXT">
    <p:spTree>
      <p:nvGrpSpPr>
        <p:cNvPr id="55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36"/>
          <p:cNvSpPr txBox="1"/>
          <p:nvPr>
            <p:ph type="title"/>
          </p:nvPr>
        </p:nvSpPr>
        <p:spPr>
          <a:xfrm rot="5400000">
            <a:off x="4839494" y="2008981"/>
            <a:ext cx="6111875" cy="2214563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7" name="Google Shape;57;p36"/>
          <p:cNvSpPr txBox="1"/>
          <p:nvPr>
            <p:ph idx="1" type="body"/>
          </p:nvPr>
        </p:nvSpPr>
        <p:spPr>
          <a:xfrm rot="5400000">
            <a:off x="332581" y="-130968"/>
            <a:ext cx="6111875" cy="64944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&amp; Subtitle">
  <p:cSld name="Title &amp; Subtitle">
    <p:spTree>
      <p:nvGrpSpPr>
        <p:cNvPr id="63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Blank">
  <p:cSld name="Blank">
    <p:spTree>
      <p:nvGrpSpPr>
        <p:cNvPr id="64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Google Shape;65;p15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65" name="Google Shape;65;p15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 type="title">
  <p:cSld name="TITLE">
    <p:spTree>
      <p:nvGrpSpPr>
        <p:cNvPr id="66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citi-r_2c-blu_pos_rgb" id="67" name="Google Shape;67;p1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Google Shape;68;p16"/>
          <p:cNvSpPr txBox="1"/>
          <p:nvPr>
            <p:ph idx="1" type="subTitle"/>
          </p:nvPr>
        </p:nvSpPr>
        <p:spPr>
          <a:xfrm>
            <a:off x="141288" y="3429000"/>
            <a:ext cx="8861425" cy="9906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spcBef>
                <a:spcPts val="1500"/>
              </a:spcBef>
              <a:spcAft>
                <a:spcPts val="0"/>
              </a:spcAft>
              <a:buSzPts val="2000"/>
              <a:buFont typeface="Noto Sans Symbols"/>
              <a:buNone/>
              <a:defRPr sz="2000">
                <a:solidFill>
                  <a:schemeClr val="hlink"/>
                </a:solidFill>
              </a:defRPr>
            </a:lvl1pPr>
            <a:lvl2pPr lvl="1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lvl="2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lvl="3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lvl="4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lvl="5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lvl="6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lvl="7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lvl="8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69" name="Google Shape;69;p16"/>
          <p:cNvSpPr txBox="1"/>
          <p:nvPr>
            <p:ph type="ctrTitle"/>
          </p:nvPr>
        </p:nvSpPr>
        <p:spPr>
          <a:xfrm>
            <a:off x="141288" y="2133600"/>
            <a:ext cx="8861425" cy="990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Content">
  <p:cSld name="Title and Content">
    <p:spTree>
      <p:nvGrpSpPr>
        <p:cNvPr id="70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7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2" name="Google Shape;72;p17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Section Header" type="secHead">
  <p:cSld name="SECTION_HEADER">
    <p:spTree>
      <p:nvGrpSpPr>
        <p:cNvPr id="73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8"/>
          <p:cNvSpPr txBox="1"/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4000" cap="none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5" name="Google Shape;75;p18"/>
          <p:cNvSpPr txBox="1"/>
          <p:nvPr>
            <p:ph idx="1" type="body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500"/>
              </a:spcBef>
              <a:spcAft>
                <a:spcPts val="0"/>
              </a:spcAft>
              <a:buSzPts val="2000"/>
              <a:buNone/>
              <a:defRPr sz="2000"/>
            </a:lvl1pPr>
            <a:lvl2pPr indent="-228600" lvl="1" marL="9144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2pPr>
            <a:lvl3pPr indent="-228600" lvl="2" marL="1371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3pPr>
            <a:lvl4pPr indent="-228600" lvl="3" marL="1828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4pPr>
            <a:lvl5pPr indent="-228600" lvl="4" marL="22860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5pPr>
            <a:lvl6pPr indent="-228600" lvl="5" marL="27432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6pPr>
            <a:lvl7pPr indent="-228600" lvl="6" marL="32004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7pPr>
            <a:lvl8pPr indent="-228600" lvl="7" marL="3657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8pPr>
            <a:lvl9pPr indent="-228600" lvl="8" marL="4114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/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wo Content">
  <p:cSld name="Two Content">
    <p:spTree>
      <p:nvGrpSpPr>
        <p:cNvPr id="76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9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8" name="Google Shape;78;p19"/>
          <p:cNvSpPr txBox="1"/>
          <p:nvPr>
            <p:ph idx="1" type="body"/>
          </p:nvPr>
        </p:nvSpPr>
        <p:spPr>
          <a:xfrm>
            <a:off x="141288" y="1295400"/>
            <a:ext cx="43545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  <p:sp>
        <p:nvSpPr>
          <p:cNvPr id="79" name="Google Shape;79;p19"/>
          <p:cNvSpPr txBox="1"/>
          <p:nvPr>
            <p:ph idx="2" type="body"/>
          </p:nvPr>
        </p:nvSpPr>
        <p:spPr>
          <a:xfrm>
            <a:off x="4648200" y="1295400"/>
            <a:ext cx="4354513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mparison" type="twoTxTwoObj">
  <p:cSld name="TWO_OBJECTS_WITH_TEXT">
    <p:spTree>
      <p:nvGrpSpPr>
        <p:cNvPr id="80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0"/>
          <p:cNvSpPr txBox="1"/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2" name="Google Shape;82;p20"/>
          <p:cNvSpPr txBox="1"/>
          <p:nvPr>
            <p:ph idx="1" type="body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83" name="Google Shape;83;p20"/>
          <p:cNvSpPr txBox="1"/>
          <p:nvPr>
            <p:ph idx="2" type="body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  <p:sp>
        <p:nvSpPr>
          <p:cNvPr id="84" name="Google Shape;84;p20"/>
          <p:cNvSpPr txBox="1"/>
          <p:nvPr>
            <p:ph idx="3" type="body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85" name="Google Shape;85;p20"/>
          <p:cNvSpPr txBox="1"/>
          <p:nvPr>
            <p:ph idx="4" type="body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 type="title">
  <p:cSld name="TITLE">
    <p:spTree>
      <p:nvGrpSpPr>
        <p:cNvPr id="16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citi-r_2c-blu_pos_rgb" id="17" name="Google Shape;17;p26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6"/>
          <p:cNvSpPr txBox="1"/>
          <p:nvPr>
            <p:ph idx="1" type="subTitle"/>
          </p:nvPr>
        </p:nvSpPr>
        <p:spPr>
          <a:xfrm>
            <a:off x="141288" y="3429000"/>
            <a:ext cx="8861425" cy="9906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spcBef>
                <a:spcPts val="1500"/>
              </a:spcBef>
              <a:spcAft>
                <a:spcPts val="0"/>
              </a:spcAft>
              <a:buSzPts val="2000"/>
              <a:buFont typeface="Noto Sans Symbols"/>
              <a:buNone/>
              <a:defRPr sz="2000">
                <a:solidFill>
                  <a:schemeClr val="hlink"/>
                </a:solidFill>
              </a:defRPr>
            </a:lvl1pPr>
            <a:lvl2pPr lvl="1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lvl="2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lvl="3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lvl="4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lvl="5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lvl="6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lvl="7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lvl="8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19" name="Google Shape;19;p26"/>
          <p:cNvSpPr txBox="1"/>
          <p:nvPr>
            <p:ph type="ctrTitle"/>
          </p:nvPr>
        </p:nvSpPr>
        <p:spPr>
          <a:xfrm>
            <a:off x="141288" y="2133600"/>
            <a:ext cx="8861425" cy="990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 showMasterSp="0" type="titleOnly">
  <p:cSld name="TITLE_ONLY">
    <p:spTree>
      <p:nvGrpSpPr>
        <p:cNvPr id="86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Google Shape;87;p2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87" name="Google Shape;87;p2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8" name="Google Shape;88;p21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pic>
        <p:nvPicPr>
          <p:cNvPr descr="citi-r_2c-blu_pos_rgb" id="89" name="Google Shape;89;p21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21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1" name="Google Shape;91;p21"/>
          <p:cNvSpPr txBox="1"/>
          <p:nvPr>
            <p:ph idx="12" type="sldNum"/>
          </p:nvPr>
        </p:nvSpPr>
        <p:spPr>
          <a:xfrm>
            <a:off x="76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ntent with Caption" type="objTx">
  <p:cSld name="OBJECT_WITH_CAPTION_TEXT">
    <p:spTree>
      <p:nvGrpSpPr>
        <p:cNvPr id="92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22"/>
          <p:cNvSpPr txBox="1"/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4" name="Google Shape;94;p22"/>
          <p:cNvSpPr txBox="1"/>
          <p:nvPr>
            <p:ph idx="1" type="body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31800" lvl="0" marL="457200" algn="l">
              <a:spcBef>
                <a:spcPts val="2400"/>
              </a:spcBef>
              <a:spcAft>
                <a:spcPts val="0"/>
              </a:spcAft>
              <a:buSzPts val="3200"/>
              <a:buChar char="∙"/>
              <a:defRPr sz="3200"/>
            </a:lvl1pPr>
            <a:lvl2pPr indent="-406400" lvl="1" marL="914400" algn="l">
              <a:spcBef>
                <a:spcPts val="700"/>
              </a:spcBef>
              <a:spcAft>
                <a:spcPts val="0"/>
              </a:spcAft>
              <a:buSzPts val="2800"/>
              <a:buChar char="–"/>
              <a:defRPr sz="2800"/>
            </a:lvl2pPr>
            <a:lvl3pPr indent="-381000" lvl="2" marL="1371600" algn="l">
              <a:spcBef>
                <a:spcPts val="600"/>
              </a:spcBef>
              <a:spcAft>
                <a:spcPts val="0"/>
              </a:spcAft>
              <a:buSzPts val="2400"/>
              <a:buChar char="∙"/>
              <a:defRPr sz="2400"/>
            </a:lvl3pPr>
            <a:lvl4pPr indent="-355600" lvl="3" marL="18288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4pPr>
            <a:lvl5pPr indent="-355600" lvl="4" marL="22860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5pPr>
            <a:lvl6pPr indent="-355600" lvl="5" marL="27432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6pPr>
            <a:lvl7pPr indent="-355600" lvl="6" marL="32004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7pPr>
            <a:lvl8pPr indent="-355600" lvl="7" marL="3657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8pPr>
            <a:lvl9pPr indent="-355600" lvl="8" marL="41148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9pPr>
          </a:lstStyle>
          <a:p/>
        </p:txBody>
      </p:sp>
      <p:sp>
        <p:nvSpPr>
          <p:cNvPr id="95" name="Google Shape;95;p22"/>
          <p:cNvSpPr txBox="1"/>
          <p:nvPr>
            <p:ph idx="2" type="body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Picture with Caption" type="picTx">
  <p:cSld name="PICTURE_WITH_CAPTION_TEXT">
    <p:spTree>
      <p:nvGrpSpPr>
        <p:cNvPr id="96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3"/>
          <p:cNvSpPr txBox="1"/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8" name="Google Shape;98;p23"/>
          <p:cNvSpPr/>
          <p:nvPr>
            <p:ph idx="2" type="pic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Noto Sans Symbols"/>
              <a:buNone/>
              <a:defRPr b="0" i="0" sz="32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b="0" i="0" sz="28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Noto Sans Symbols"/>
              <a:buNone/>
              <a:defRPr b="0" i="0" sz="2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99" name="Google Shape;99;p23"/>
          <p:cNvSpPr txBox="1"/>
          <p:nvPr>
            <p:ph idx="1" type="body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Vertical Text" type="vertTx">
  <p:cSld name="VERTICAL_TEXT">
    <p:spTree>
      <p:nvGrpSpPr>
        <p:cNvPr id="100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4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2" name="Google Shape;102;p24"/>
          <p:cNvSpPr txBox="1"/>
          <p:nvPr>
            <p:ph idx="1" type="body"/>
          </p:nvPr>
        </p:nvSpPr>
        <p:spPr>
          <a:xfrm rot="5400000">
            <a:off x="2133601" y="-696912"/>
            <a:ext cx="4876800" cy="88614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Vertical Title and Text" type="vertTitleAndTx">
  <p:cSld name="VERTICAL_TITLE_AND_VERTICAL_TEXT">
    <p:spTree>
      <p:nvGrpSpPr>
        <p:cNvPr id="103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5"/>
          <p:cNvSpPr txBox="1"/>
          <p:nvPr>
            <p:ph type="title"/>
          </p:nvPr>
        </p:nvSpPr>
        <p:spPr>
          <a:xfrm rot="5400000">
            <a:off x="4839494" y="2008981"/>
            <a:ext cx="6111875" cy="2214563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5" name="Google Shape;105;p25"/>
          <p:cNvSpPr txBox="1"/>
          <p:nvPr>
            <p:ph idx="1" type="body"/>
          </p:nvPr>
        </p:nvSpPr>
        <p:spPr>
          <a:xfrm rot="5400000">
            <a:off x="332581" y="-130968"/>
            <a:ext cx="6111875" cy="64944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 type="title">
  <p:cSld name="TITLE">
    <p:spTree>
      <p:nvGrpSpPr>
        <p:cNvPr id="112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citi-r_2c-blu_pos_rgb" id="113" name="Google Shape;113;p38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Google Shape;114;p38"/>
          <p:cNvSpPr txBox="1"/>
          <p:nvPr>
            <p:ph idx="1" type="subTitle"/>
          </p:nvPr>
        </p:nvSpPr>
        <p:spPr>
          <a:xfrm>
            <a:off x="141288" y="3429000"/>
            <a:ext cx="8861425" cy="9906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spcBef>
                <a:spcPts val="1500"/>
              </a:spcBef>
              <a:spcAft>
                <a:spcPts val="0"/>
              </a:spcAft>
              <a:buSzPts val="2000"/>
              <a:buFont typeface="Noto Sans Symbols"/>
              <a:buNone/>
              <a:defRPr sz="2000">
                <a:solidFill>
                  <a:schemeClr val="hlink"/>
                </a:solidFill>
              </a:defRPr>
            </a:lvl1pPr>
            <a:lvl2pPr lvl="1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lvl="2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lvl="3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lvl="4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lvl="5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lvl="6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lvl="7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lvl="8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115" name="Google Shape;115;p38"/>
          <p:cNvSpPr txBox="1"/>
          <p:nvPr>
            <p:ph type="ctrTitle"/>
          </p:nvPr>
        </p:nvSpPr>
        <p:spPr>
          <a:xfrm>
            <a:off x="141288" y="2133600"/>
            <a:ext cx="8861425" cy="990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Content" type="obj">
  <p:cSld name="OBJECT">
    <p:spTree>
      <p:nvGrpSpPr>
        <p:cNvPr id="116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39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18" name="Google Shape;118;p39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Section Header" type="secHead">
  <p:cSld name="SECTION_HEADER">
    <p:spTree>
      <p:nvGrpSpPr>
        <p:cNvPr id="119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40"/>
          <p:cNvSpPr txBox="1"/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4000" cap="none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21" name="Google Shape;121;p40"/>
          <p:cNvSpPr txBox="1"/>
          <p:nvPr>
            <p:ph idx="1" type="body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500"/>
              </a:spcBef>
              <a:spcAft>
                <a:spcPts val="0"/>
              </a:spcAft>
              <a:buSzPts val="2000"/>
              <a:buNone/>
              <a:defRPr sz="2000"/>
            </a:lvl1pPr>
            <a:lvl2pPr indent="-228600" lvl="1" marL="9144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2pPr>
            <a:lvl3pPr indent="-228600" lvl="2" marL="1371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3pPr>
            <a:lvl4pPr indent="-228600" lvl="3" marL="1828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4pPr>
            <a:lvl5pPr indent="-228600" lvl="4" marL="22860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5pPr>
            <a:lvl6pPr indent="-228600" lvl="5" marL="27432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6pPr>
            <a:lvl7pPr indent="-228600" lvl="6" marL="32004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7pPr>
            <a:lvl8pPr indent="-228600" lvl="7" marL="3657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8pPr>
            <a:lvl9pPr indent="-228600" lvl="8" marL="4114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/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wo Content" type="twoObj">
  <p:cSld name="TWO_OBJECTS">
    <p:spTree>
      <p:nvGrpSpPr>
        <p:cNvPr id="122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41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24" name="Google Shape;124;p41"/>
          <p:cNvSpPr txBox="1"/>
          <p:nvPr>
            <p:ph idx="1" type="body"/>
          </p:nvPr>
        </p:nvSpPr>
        <p:spPr>
          <a:xfrm>
            <a:off x="141288" y="1295400"/>
            <a:ext cx="43545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  <p:sp>
        <p:nvSpPr>
          <p:cNvPr id="125" name="Google Shape;125;p41"/>
          <p:cNvSpPr txBox="1"/>
          <p:nvPr>
            <p:ph idx="2" type="body"/>
          </p:nvPr>
        </p:nvSpPr>
        <p:spPr>
          <a:xfrm>
            <a:off x="4648200" y="1295400"/>
            <a:ext cx="4354513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mparison" type="twoTxTwoObj">
  <p:cSld name="TWO_OBJECTS_WITH_TEXT">
    <p:spTree>
      <p:nvGrpSpPr>
        <p:cNvPr id="126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2"/>
          <p:cNvSpPr txBox="1"/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28" name="Google Shape;128;p42"/>
          <p:cNvSpPr txBox="1"/>
          <p:nvPr>
            <p:ph idx="1" type="body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129" name="Google Shape;129;p42"/>
          <p:cNvSpPr txBox="1"/>
          <p:nvPr>
            <p:ph idx="2" type="body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  <p:sp>
        <p:nvSpPr>
          <p:cNvPr id="130" name="Google Shape;130;p42"/>
          <p:cNvSpPr txBox="1"/>
          <p:nvPr>
            <p:ph idx="3" type="body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131" name="Google Shape;131;p42"/>
          <p:cNvSpPr txBox="1"/>
          <p:nvPr>
            <p:ph idx="4" type="body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Content">
  <p:cSld name="Title and Content">
    <p:spTree>
      <p:nvGrpSpPr>
        <p:cNvPr id="20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7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2" name="Google Shape;22;p27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 showMasterSp="0" type="titleOnly">
  <p:cSld name="TITLE_ONLY">
    <p:spTree>
      <p:nvGrpSpPr>
        <p:cNvPr id="132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Google Shape;133;p43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133" name="Google Shape;133;p4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4" name="Google Shape;134;p43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pic>
        <p:nvPicPr>
          <p:cNvPr descr="citi-r_2c-blu_pos_rgb" id="135" name="Google Shape;135;p43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36" name="Google Shape;136;p43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37" name="Google Shape;137;p43"/>
          <p:cNvSpPr txBox="1"/>
          <p:nvPr>
            <p:ph idx="12" type="sldNum"/>
          </p:nvPr>
        </p:nvSpPr>
        <p:spPr>
          <a:xfrm>
            <a:off x="76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Blank" type="blank">
  <p:cSld name="BLANK">
    <p:spTree>
      <p:nvGrpSpPr>
        <p:cNvPr id="138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ntent with Caption" type="objTx">
  <p:cSld name="OBJECT_WITH_CAPTION_TEXT">
    <p:spTree>
      <p:nvGrpSpPr>
        <p:cNvPr id="139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45"/>
          <p:cNvSpPr txBox="1"/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41" name="Google Shape;141;p45"/>
          <p:cNvSpPr txBox="1"/>
          <p:nvPr>
            <p:ph idx="1" type="body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31800" lvl="0" marL="457200" algn="l">
              <a:spcBef>
                <a:spcPts val="2400"/>
              </a:spcBef>
              <a:spcAft>
                <a:spcPts val="0"/>
              </a:spcAft>
              <a:buSzPts val="3200"/>
              <a:buChar char="∙"/>
              <a:defRPr sz="3200"/>
            </a:lvl1pPr>
            <a:lvl2pPr indent="-406400" lvl="1" marL="914400" algn="l">
              <a:spcBef>
                <a:spcPts val="700"/>
              </a:spcBef>
              <a:spcAft>
                <a:spcPts val="0"/>
              </a:spcAft>
              <a:buSzPts val="2800"/>
              <a:buChar char="–"/>
              <a:defRPr sz="2800"/>
            </a:lvl2pPr>
            <a:lvl3pPr indent="-381000" lvl="2" marL="1371600" algn="l">
              <a:spcBef>
                <a:spcPts val="600"/>
              </a:spcBef>
              <a:spcAft>
                <a:spcPts val="0"/>
              </a:spcAft>
              <a:buSzPts val="2400"/>
              <a:buChar char="∙"/>
              <a:defRPr sz="2400"/>
            </a:lvl3pPr>
            <a:lvl4pPr indent="-355600" lvl="3" marL="18288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4pPr>
            <a:lvl5pPr indent="-355600" lvl="4" marL="22860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5pPr>
            <a:lvl6pPr indent="-355600" lvl="5" marL="27432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6pPr>
            <a:lvl7pPr indent="-355600" lvl="6" marL="32004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7pPr>
            <a:lvl8pPr indent="-355600" lvl="7" marL="3657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8pPr>
            <a:lvl9pPr indent="-355600" lvl="8" marL="41148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9pPr>
          </a:lstStyle>
          <a:p/>
        </p:txBody>
      </p:sp>
      <p:sp>
        <p:nvSpPr>
          <p:cNvPr id="142" name="Google Shape;142;p45"/>
          <p:cNvSpPr txBox="1"/>
          <p:nvPr>
            <p:ph idx="2" type="body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Picture with Caption" type="picTx">
  <p:cSld name="PICTURE_WITH_CAPTION_TEXT">
    <p:spTree>
      <p:nvGrpSpPr>
        <p:cNvPr id="143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46"/>
          <p:cNvSpPr txBox="1"/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45" name="Google Shape;145;p46"/>
          <p:cNvSpPr/>
          <p:nvPr>
            <p:ph idx="2" type="pic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Noto Sans Symbols"/>
              <a:buNone/>
              <a:defRPr b="0" i="0" sz="32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b="0" i="0" sz="28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Noto Sans Symbols"/>
              <a:buNone/>
              <a:defRPr b="0" i="0" sz="2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46" name="Google Shape;146;p46"/>
          <p:cNvSpPr txBox="1"/>
          <p:nvPr>
            <p:ph idx="1" type="body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Vertical Text" type="vertTx">
  <p:cSld name="VERTICAL_TEXT">
    <p:spTree>
      <p:nvGrpSpPr>
        <p:cNvPr id="147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47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49" name="Google Shape;149;p47"/>
          <p:cNvSpPr txBox="1"/>
          <p:nvPr>
            <p:ph idx="1" type="body"/>
          </p:nvPr>
        </p:nvSpPr>
        <p:spPr>
          <a:xfrm rot="5400000">
            <a:off x="2133601" y="-696912"/>
            <a:ext cx="4876800" cy="88614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Vertical Title and Text" type="vertTitleAndTx">
  <p:cSld name="VERTICAL_TITLE_AND_VERTICAL_TEXT">
    <p:spTree>
      <p:nvGrpSpPr>
        <p:cNvPr id="150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48"/>
          <p:cNvSpPr txBox="1"/>
          <p:nvPr>
            <p:ph type="title"/>
          </p:nvPr>
        </p:nvSpPr>
        <p:spPr>
          <a:xfrm rot="5400000">
            <a:off x="4839494" y="2008981"/>
            <a:ext cx="6111875" cy="2214563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52" name="Google Shape;152;p48"/>
          <p:cNvSpPr txBox="1"/>
          <p:nvPr>
            <p:ph idx="1" type="body"/>
          </p:nvPr>
        </p:nvSpPr>
        <p:spPr>
          <a:xfrm rot="5400000">
            <a:off x="332581" y="-130968"/>
            <a:ext cx="6111875" cy="64944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 type="title">
  <p:cSld name="TITLE">
    <p:spTree>
      <p:nvGrpSpPr>
        <p:cNvPr id="159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citi-r_2c-blu_pos_rgb" id="160" name="Google Shape;160;p50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50"/>
          <p:cNvSpPr txBox="1"/>
          <p:nvPr>
            <p:ph idx="1" type="subTitle"/>
          </p:nvPr>
        </p:nvSpPr>
        <p:spPr>
          <a:xfrm>
            <a:off x="141288" y="3429000"/>
            <a:ext cx="8861425" cy="9906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spcBef>
                <a:spcPts val="1500"/>
              </a:spcBef>
              <a:spcAft>
                <a:spcPts val="0"/>
              </a:spcAft>
              <a:buSzPts val="2000"/>
              <a:buFont typeface="Noto Sans Symbols"/>
              <a:buNone/>
              <a:defRPr sz="2000">
                <a:solidFill>
                  <a:schemeClr val="hlink"/>
                </a:solidFill>
              </a:defRPr>
            </a:lvl1pPr>
            <a:lvl2pPr lvl="1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lvl="2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lvl="3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lvl="4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lvl="5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lvl="6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lvl="7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lvl="8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162" name="Google Shape;162;p50"/>
          <p:cNvSpPr txBox="1"/>
          <p:nvPr>
            <p:ph type="ctrTitle"/>
          </p:nvPr>
        </p:nvSpPr>
        <p:spPr>
          <a:xfrm>
            <a:off x="141288" y="2133600"/>
            <a:ext cx="8861425" cy="990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Content" type="obj">
  <p:cSld name="OBJECT">
    <p:spTree>
      <p:nvGrpSpPr>
        <p:cNvPr id="163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51"/>
          <p:cNvSpPr txBox="1"/>
          <p:nvPr>
            <p:ph idx="1" type="body"/>
          </p:nvPr>
        </p:nvSpPr>
        <p:spPr>
          <a:xfrm>
            <a:off x="141289" y="1295400"/>
            <a:ext cx="88503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165" name="Google Shape;165;p51"/>
          <p:cNvSpPr txBox="1"/>
          <p:nvPr>
            <p:ph type="title"/>
          </p:nvPr>
        </p:nvSpPr>
        <p:spPr>
          <a:xfrm>
            <a:off x="141288" y="6032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wo Content" type="twoObj">
  <p:cSld name="TWO_OBJECTS">
    <p:spTree>
      <p:nvGrpSpPr>
        <p:cNvPr id="166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52"/>
          <p:cNvSpPr txBox="1"/>
          <p:nvPr>
            <p:ph type="title"/>
          </p:nvPr>
        </p:nvSpPr>
        <p:spPr>
          <a:xfrm>
            <a:off x="141288" y="6032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68" name="Google Shape;168;p52"/>
          <p:cNvSpPr txBox="1"/>
          <p:nvPr>
            <p:ph idx="1" type="body"/>
          </p:nvPr>
        </p:nvSpPr>
        <p:spPr>
          <a:xfrm>
            <a:off x="141288" y="1295400"/>
            <a:ext cx="42783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spcBef>
                <a:spcPts val="1050"/>
              </a:spcBef>
              <a:spcAft>
                <a:spcPts val="0"/>
              </a:spcAft>
              <a:buSzPts val="1400"/>
              <a:buChar char="∙"/>
              <a:defRPr sz="1400"/>
            </a:lvl1pPr>
            <a:lvl2pPr indent="-317500" lvl="1" marL="914400" algn="l">
              <a:spcBef>
                <a:spcPts val="350"/>
              </a:spcBef>
              <a:spcAft>
                <a:spcPts val="0"/>
              </a:spcAft>
              <a:buSzPts val="1400"/>
              <a:buChar char="–"/>
              <a:defRPr sz="1400"/>
            </a:lvl2pPr>
            <a:lvl3pPr indent="-317500" lvl="2" marL="1371600" algn="l">
              <a:spcBef>
                <a:spcPts val="350"/>
              </a:spcBef>
              <a:spcAft>
                <a:spcPts val="0"/>
              </a:spcAft>
              <a:buSzPts val="1400"/>
              <a:buChar char="∙"/>
              <a:defRPr sz="1400"/>
            </a:lvl3pPr>
            <a:lvl4pPr indent="-317500" lvl="3" marL="1828800" algn="l">
              <a:spcBef>
                <a:spcPts val="350"/>
              </a:spcBef>
              <a:spcAft>
                <a:spcPts val="0"/>
              </a:spcAft>
              <a:buSzPts val="1400"/>
              <a:buChar char="–"/>
              <a:defRPr sz="1400"/>
            </a:lvl4pPr>
            <a:lvl5pPr indent="-317500" lvl="4" marL="2286000" algn="l">
              <a:spcBef>
                <a:spcPts val="350"/>
              </a:spcBef>
              <a:spcAft>
                <a:spcPts val="0"/>
              </a:spcAft>
              <a:buSzPts val="1400"/>
              <a:buChar char="∙"/>
              <a:defRPr sz="14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  <p:sp>
        <p:nvSpPr>
          <p:cNvPr id="169" name="Google Shape;169;p52"/>
          <p:cNvSpPr txBox="1"/>
          <p:nvPr>
            <p:ph idx="2" type="body"/>
          </p:nvPr>
        </p:nvSpPr>
        <p:spPr>
          <a:xfrm>
            <a:off x="4724399" y="1295400"/>
            <a:ext cx="4267201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algn="l">
              <a:spcBef>
                <a:spcPts val="1050"/>
              </a:spcBef>
              <a:spcAft>
                <a:spcPts val="0"/>
              </a:spcAft>
              <a:buSzPts val="1400"/>
              <a:buChar char="∙"/>
              <a:defRPr sz="1400"/>
            </a:lvl1pPr>
            <a:lvl2pPr indent="-317500" lvl="1" marL="914400" algn="l">
              <a:spcBef>
                <a:spcPts val="350"/>
              </a:spcBef>
              <a:spcAft>
                <a:spcPts val="0"/>
              </a:spcAft>
              <a:buSzPts val="1400"/>
              <a:buChar char="–"/>
              <a:defRPr sz="1400"/>
            </a:lvl2pPr>
            <a:lvl3pPr indent="-317500" lvl="2" marL="1371600" algn="l">
              <a:spcBef>
                <a:spcPts val="350"/>
              </a:spcBef>
              <a:spcAft>
                <a:spcPts val="0"/>
              </a:spcAft>
              <a:buSzPts val="1400"/>
              <a:buChar char="∙"/>
              <a:defRPr sz="1400"/>
            </a:lvl3pPr>
            <a:lvl4pPr indent="-317500" lvl="3" marL="1828800" algn="l">
              <a:spcBef>
                <a:spcPts val="350"/>
              </a:spcBef>
              <a:spcAft>
                <a:spcPts val="0"/>
              </a:spcAft>
              <a:buSzPts val="1400"/>
              <a:buChar char="–"/>
              <a:defRPr sz="1400"/>
            </a:lvl4pPr>
            <a:lvl5pPr indent="-317500" lvl="4" marL="2286000" algn="l">
              <a:spcBef>
                <a:spcPts val="350"/>
              </a:spcBef>
              <a:spcAft>
                <a:spcPts val="0"/>
              </a:spcAft>
              <a:buSzPts val="1400"/>
              <a:buChar char="∙"/>
              <a:defRPr sz="14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 type="titleOnly">
  <p:cSld name="TITLE_ONLY">
    <p:spTree>
      <p:nvGrpSpPr>
        <p:cNvPr id="170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53"/>
          <p:cNvSpPr txBox="1"/>
          <p:nvPr>
            <p:ph type="title"/>
          </p:nvPr>
        </p:nvSpPr>
        <p:spPr>
          <a:xfrm>
            <a:off x="141288" y="6032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Section Header" type="secHead">
  <p:cSld name="SECTION_HEADER">
    <p:spTree>
      <p:nvGrpSpPr>
        <p:cNvPr id="23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8"/>
          <p:cNvSpPr txBox="1"/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4000" cap="none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5" name="Google Shape;25;p28"/>
          <p:cNvSpPr txBox="1"/>
          <p:nvPr>
            <p:ph idx="1" type="body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500"/>
              </a:spcBef>
              <a:spcAft>
                <a:spcPts val="0"/>
              </a:spcAft>
              <a:buSzPts val="2000"/>
              <a:buNone/>
              <a:defRPr sz="2000"/>
            </a:lvl1pPr>
            <a:lvl2pPr indent="-228600" lvl="1" marL="9144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2pPr>
            <a:lvl3pPr indent="-228600" lvl="2" marL="1371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3pPr>
            <a:lvl4pPr indent="-228600" lvl="3" marL="1828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4pPr>
            <a:lvl5pPr indent="-228600" lvl="4" marL="22860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5pPr>
            <a:lvl6pPr indent="-228600" lvl="5" marL="27432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6pPr>
            <a:lvl7pPr indent="-228600" lvl="6" marL="32004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7pPr>
            <a:lvl8pPr indent="-228600" lvl="7" marL="3657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8pPr>
            <a:lvl9pPr indent="-228600" lvl="8" marL="4114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/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 type="title">
  <p:cSld name="TITLE">
    <p:spTree>
      <p:nvGrpSpPr>
        <p:cNvPr id="178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citi-r_2c-blu_pos_rgb" id="179" name="Google Shape;179;p55"/>
          <p:cNvPicPr preferRelativeResize="0"/>
          <p:nvPr/>
        </p:nvPicPr>
        <p:blipFill rotWithShape="1">
          <a:blip r:embed="rId2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80" name="Google Shape;180;p55"/>
          <p:cNvSpPr txBox="1"/>
          <p:nvPr>
            <p:ph idx="1" type="subTitle"/>
          </p:nvPr>
        </p:nvSpPr>
        <p:spPr>
          <a:xfrm>
            <a:off x="141288" y="3429000"/>
            <a:ext cx="8861425" cy="9906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algn="l">
              <a:spcBef>
                <a:spcPts val="1500"/>
              </a:spcBef>
              <a:spcAft>
                <a:spcPts val="0"/>
              </a:spcAft>
              <a:buSzPts val="2000"/>
              <a:buFont typeface="Noto Sans Symbols"/>
              <a:buNone/>
              <a:defRPr sz="2000">
                <a:solidFill>
                  <a:schemeClr val="hlink"/>
                </a:solidFill>
              </a:defRPr>
            </a:lvl1pPr>
            <a:lvl2pPr lvl="1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lvl="2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lvl="3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lvl="4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lvl="5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lvl="6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lvl="7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lvl="8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  <p:sp>
        <p:nvSpPr>
          <p:cNvPr id="181" name="Google Shape;181;p55"/>
          <p:cNvSpPr txBox="1"/>
          <p:nvPr>
            <p:ph type="ctrTitle"/>
          </p:nvPr>
        </p:nvSpPr>
        <p:spPr>
          <a:xfrm>
            <a:off x="141288" y="2133600"/>
            <a:ext cx="8861425" cy="990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Content">
  <p:cSld name="Title and Content">
    <p:spTree>
      <p:nvGrpSpPr>
        <p:cNvPr id="182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56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84" name="Google Shape;184;p56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Section Header" type="secHead">
  <p:cSld name="SECTION_HEADER">
    <p:spTree>
      <p:nvGrpSpPr>
        <p:cNvPr id="185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57"/>
          <p:cNvSpPr txBox="1"/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4000" cap="none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87" name="Google Shape;187;p57"/>
          <p:cNvSpPr txBox="1"/>
          <p:nvPr>
            <p:ph idx="1" type="body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500"/>
              </a:spcBef>
              <a:spcAft>
                <a:spcPts val="0"/>
              </a:spcAft>
              <a:buSzPts val="2000"/>
              <a:buNone/>
              <a:defRPr sz="2000"/>
            </a:lvl1pPr>
            <a:lvl2pPr indent="-228600" lvl="1" marL="9144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2pPr>
            <a:lvl3pPr indent="-228600" lvl="2" marL="1371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3pPr>
            <a:lvl4pPr indent="-228600" lvl="3" marL="1828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4pPr>
            <a:lvl5pPr indent="-228600" lvl="4" marL="22860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5pPr>
            <a:lvl6pPr indent="-228600" lvl="5" marL="27432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6pPr>
            <a:lvl7pPr indent="-228600" lvl="6" marL="32004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7pPr>
            <a:lvl8pPr indent="-228600" lvl="7" marL="3657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8pPr>
            <a:lvl9pPr indent="-228600" lvl="8" marL="41148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/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wo Content">
  <p:cSld name="Two Content">
    <p:spTree>
      <p:nvGrpSpPr>
        <p:cNvPr id="188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58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90" name="Google Shape;190;p58"/>
          <p:cNvSpPr txBox="1"/>
          <p:nvPr>
            <p:ph idx="1" type="body"/>
          </p:nvPr>
        </p:nvSpPr>
        <p:spPr>
          <a:xfrm>
            <a:off x="141288" y="1295400"/>
            <a:ext cx="43545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  <p:sp>
        <p:nvSpPr>
          <p:cNvPr id="191" name="Google Shape;191;p58"/>
          <p:cNvSpPr txBox="1"/>
          <p:nvPr>
            <p:ph idx="2" type="body"/>
          </p:nvPr>
        </p:nvSpPr>
        <p:spPr>
          <a:xfrm>
            <a:off x="4648200" y="1295400"/>
            <a:ext cx="4354513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mparison" type="twoTxTwoObj">
  <p:cSld name="TWO_OBJECTS_WITH_TEXT">
    <p:spTree>
      <p:nvGrpSpPr>
        <p:cNvPr id="192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59"/>
          <p:cNvSpPr txBox="1"/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94" name="Google Shape;194;p59"/>
          <p:cNvSpPr txBox="1"/>
          <p:nvPr>
            <p:ph idx="1" type="body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195" name="Google Shape;195;p59"/>
          <p:cNvSpPr txBox="1"/>
          <p:nvPr>
            <p:ph idx="2" type="body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  <p:sp>
        <p:nvSpPr>
          <p:cNvPr id="196" name="Google Shape;196;p59"/>
          <p:cNvSpPr txBox="1"/>
          <p:nvPr>
            <p:ph idx="3" type="body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197" name="Google Shape;197;p59"/>
          <p:cNvSpPr txBox="1"/>
          <p:nvPr>
            <p:ph idx="4" type="body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 showMasterSp="0" type="titleOnly">
  <p:cSld name="TITLE_ONLY">
    <p:spTree>
      <p:nvGrpSpPr>
        <p:cNvPr id="198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9" name="Google Shape;199;p6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199" name="Google Shape;199;p60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0" name="Google Shape;200;p60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pic>
        <p:nvPicPr>
          <p:cNvPr descr="citi-r_2c-blu_pos_rgb" id="201" name="Google Shape;201;p60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60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03" name="Google Shape;203;p60"/>
          <p:cNvSpPr txBox="1"/>
          <p:nvPr>
            <p:ph idx="12" type="sldNum"/>
          </p:nvPr>
        </p:nvSpPr>
        <p:spPr>
          <a:xfrm>
            <a:off x="76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Blank">
  <p:cSld name="Blank">
    <p:spTree>
      <p:nvGrpSpPr>
        <p:cNvPr id="204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ntent with Caption" type="objTx">
  <p:cSld name="OBJECT_WITH_CAPTION_TEXT">
    <p:spTree>
      <p:nvGrpSpPr>
        <p:cNvPr id="205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62"/>
          <p:cNvSpPr txBox="1"/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07" name="Google Shape;207;p62"/>
          <p:cNvSpPr txBox="1"/>
          <p:nvPr>
            <p:ph idx="1" type="body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31800" lvl="0" marL="457200" algn="l">
              <a:spcBef>
                <a:spcPts val="2400"/>
              </a:spcBef>
              <a:spcAft>
                <a:spcPts val="0"/>
              </a:spcAft>
              <a:buSzPts val="3200"/>
              <a:buChar char="∙"/>
              <a:defRPr sz="3200"/>
            </a:lvl1pPr>
            <a:lvl2pPr indent="-406400" lvl="1" marL="914400" algn="l">
              <a:spcBef>
                <a:spcPts val="700"/>
              </a:spcBef>
              <a:spcAft>
                <a:spcPts val="0"/>
              </a:spcAft>
              <a:buSzPts val="2800"/>
              <a:buChar char="–"/>
              <a:defRPr sz="2800"/>
            </a:lvl2pPr>
            <a:lvl3pPr indent="-381000" lvl="2" marL="1371600" algn="l">
              <a:spcBef>
                <a:spcPts val="600"/>
              </a:spcBef>
              <a:spcAft>
                <a:spcPts val="0"/>
              </a:spcAft>
              <a:buSzPts val="2400"/>
              <a:buChar char="∙"/>
              <a:defRPr sz="2400"/>
            </a:lvl3pPr>
            <a:lvl4pPr indent="-355600" lvl="3" marL="18288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4pPr>
            <a:lvl5pPr indent="-355600" lvl="4" marL="22860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5pPr>
            <a:lvl6pPr indent="-355600" lvl="5" marL="27432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6pPr>
            <a:lvl7pPr indent="-355600" lvl="6" marL="32004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7pPr>
            <a:lvl8pPr indent="-355600" lvl="7" marL="3657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8pPr>
            <a:lvl9pPr indent="-355600" lvl="8" marL="41148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9pPr>
          </a:lstStyle>
          <a:p/>
        </p:txBody>
      </p:sp>
      <p:sp>
        <p:nvSpPr>
          <p:cNvPr id="208" name="Google Shape;208;p62"/>
          <p:cNvSpPr txBox="1"/>
          <p:nvPr>
            <p:ph idx="2" type="body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Picture with Caption" type="picTx">
  <p:cSld name="PICTURE_WITH_CAPTION_TEXT">
    <p:spTree>
      <p:nvGrpSpPr>
        <p:cNvPr id="209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63"/>
          <p:cNvSpPr txBox="1"/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11" name="Google Shape;211;p63"/>
          <p:cNvSpPr/>
          <p:nvPr>
            <p:ph idx="2" type="pic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lvl="0" marR="0" rtl="0" algn="l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Noto Sans Symbols"/>
              <a:buNone/>
              <a:defRPr b="0" i="0" sz="32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b="0" i="0" sz="28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Noto Sans Symbols"/>
              <a:buNone/>
              <a:defRPr b="0" i="0" sz="2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Noto Sans Symbols"/>
              <a:buNone/>
              <a:defRPr b="0" i="0" sz="20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212" name="Google Shape;212;p63"/>
          <p:cNvSpPr txBox="1"/>
          <p:nvPr>
            <p:ph idx="1" type="body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and Vertical Text" type="vertTx">
  <p:cSld name="VERTICAL_TEXT">
    <p:spTree>
      <p:nvGrpSpPr>
        <p:cNvPr id="213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64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15" name="Google Shape;215;p64"/>
          <p:cNvSpPr txBox="1"/>
          <p:nvPr>
            <p:ph idx="1" type="body"/>
          </p:nvPr>
        </p:nvSpPr>
        <p:spPr>
          <a:xfrm rot="5400000">
            <a:off x="2133601" y="-696912"/>
            <a:ext cx="4876800" cy="88614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wo Content">
  <p:cSld name="Two Content">
    <p:spTree>
      <p:nvGrpSpPr>
        <p:cNvPr id="26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9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8" name="Google Shape;28;p29"/>
          <p:cNvSpPr txBox="1"/>
          <p:nvPr>
            <p:ph idx="1" type="body"/>
          </p:nvPr>
        </p:nvSpPr>
        <p:spPr>
          <a:xfrm>
            <a:off x="141288" y="1295400"/>
            <a:ext cx="4354512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  <p:sp>
        <p:nvSpPr>
          <p:cNvPr id="29" name="Google Shape;29;p29"/>
          <p:cNvSpPr txBox="1"/>
          <p:nvPr>
            <p:ph idx="2" type="body"/>
          </p:nvPr>
        </p:nvSpPr>
        <p:spPr>
          <a:xfrm>
            <a:off x="4648200" y="1295400"/>
            <a:ext cx="4354513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06400" lvl="0" marL="457200" algn="l">
              <a:spcBef>
                <a:spcPts val="2100"/>
              </a:spcBef>
              <a:spcAft>
                <a:spcPts val="0"/>
              </a:spcAft>
              <a:buSzPts val="2800"/>
              <a:buChar char="∙"/>
              <a:defRPr sz="2800"/>
            </a:lvl1pPr>
            <a:lvl2pPr indent="-381000" lvl="1" marL="914400" algn="l">
              <a:spcBef>
                <a:spcPts val="600"/>
              </a:spcBef>
              <a:spcAft>
                <a:spcPts val="0"/>
              </a:spcAft>
              <a:buSzPts val="2400"/>
              <a:buChar char="–"/>
              <a:defRPr sz="2400"/>
            </a:lvl2pPr>
            <a:lvl3pPr indent="-355600" lvl="2" marL="1371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 sz="1800"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9pPr>
          </a:lstStyle>
          <a:p/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Vertical Title and Text" type="vertTitleAndTx">
  <p:cSld name="VERTICAL_TITLE_AND_VERTICAL_TEXT">
    <p:spTree>
      <p:nvGrpSpPr>
        <p:cNvPr id="216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65"/>
          <p:cNvSpPr txBox="1"/>
          <p:nvPr>
            <p:ph type="title"/>
          </p:nvPr>
        </p:nvSpPr>
        <p:spPr>
          <a:xfrm rot="5400000">
            <a:off x="4839494" y="2008981"/>
            <a:ext cx="6111875" cy="2214563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18" name="Google Shape;218;p65"/>
          <p:cNvSpPr txBox="1"/>
          <p:nvPr>
            <p:ph idx="1" type="body"/>
          </p:nvPr>
        </p:nvSpPr>
        <p:spPr>
          <a:xfrm rot="5400000">
            <a:off x="332581" y="-130968"/>
            <a:ext cx="6111875" cy="649446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42900" lvl="0" marL="457200" algn="l">
              <a:spcBef>
                <a:spcPts val="1350"/>
              </a:spcBef>
              <a:spcAft>
                <a:spcPts val="0"/>
              </a:spcAft>
              <a:buSzPts val="1800"/>
              <a:buChar char="∙"/>
              <a:defRPr/>
            </a:lvl1pPr>
            <a:lvl2pPr indent="-342900" lvl="1" marL="9144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3pPr>
            <a:lvl4pPr indent="-342900" lvl="3" marL="1828800" algn="l"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4pPr>
            <a:lvl5pPr indent="-342900" lvl="4" marL="22860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5pPr>
            <a:lvl6pPr indent="-342900" lvl="5" marL="27432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6pPr>
            <a:lvl7pPr indent="-342900" lvl="6" marL="32004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7pPr>
            <a:lvl8pPr indent="-342900" lvl="7" marL="3657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8pPr>
            <a:lvl9pPr indent="-342900" lvl="8" marL="41148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/>
            </a:lvl9pPr>
          </a:lstStyle>
          <a:p/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mparison" type="twoTxTwoObj">
  <p:cSld name="TWO_OBJECTS_WITH_TEXT">
    <p:spTree>
      <p:nvGrpSpPr>
        <p:cNvPr id="30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30"/>
          <p:cNvSpPr txBox="1"/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2" name="Google Shape;32;p30"/>
          <p:cNvSpPr txBox="1"/>
          <p:nvPr>
            <p:ph idx="1" type="body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33" name="Google Shape;33;p30"/>
          <p:cNvSpPr txBox="1"/>
          <p:nvPr>
            <p:ph idx="2" type="body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  <p:sp>
        <p:nvSpPr>
          <p:cNvPr id="34" name="Google Shape;34;p30"/>
          <p:cNvSpPr txBox="1"/>
          <p:nvPr>
            <p:ph idx="3" type="body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>
            <a:lvl1pPr indent="-228600" lvl="0" marL="457200" algn="l">
              <a:spcBef>
                <a:spcPts val="1800"/>
              </a:spcBef>
              <a:spcAft>
                <a:spcPts val="0"/>
              </a:spcAft>
              <a:buSzPts val="2400"/>
              <a:buNone/>
              <a:defRPr b="1" sz="2400"/>
            </a:lvl1pPr>
            <a:lvl2pPr indent="-228600" lvl="1" marL="914400" algn="l">
              <a:spcBef>
                <a:spcPts val="5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spcBef>
                <a:spcPts val="45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35" name="Google Shape;35;p30"/>
          <p:cNvSpPr txBox="1"/>
          <p:nvPr>
            <p:ph idx="4" type="body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81000" lvl="0" marL="457200" algn="l">
              <a:spcBef>
                <a:spcPts val="1800"/>
              </a:spcBef>
              <a:spcAft>
                <a:spcPts val="0"/>
              </a:spcAft>
              <a:buSzPts val="2400"/>
              <a:buChar char="∙"/>
              <a:defRPr sz="2400"/>
            </a:lvl1pPr>
            <a:lvl2pPr indent="-355600" lvl="1" marL="9144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2pPr>
            <a:lvl3pPr indent="-342900" lvl="2" marL="1371600" algn="l">
              <a:spcBef>
                <a:spcPts val="450"/>
              </a:spcBef>
              <a:spcAft>
                <a:spcPts val="0"/>
              </a:spcAft>
              <a:buSzPts val="1800"/>
              <a:buChar char="∙"/>
              <a:defRPr sz="1800"/>
            </a:lvl3pPr>
            <a:lvl4pPr indent="-330200" lvl="3" marL="1828800" algn="l">
              <a:spcBef>
                <a:spcPts val="400"/>
              </a:spcBef>
              <a:spcAft>
                <a:spcPts val="0"/>
              </a:spcAft>
              <a:buSzPts val="1600"/>
              <a:buChar char="–"/>
              <a:defRPr sz="1600"/>
            </a:lvl4pPr>
            <a:lvl5pPr indent="-330200" lvl="4" marL="22860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5pPr>
            <a:lvl6pPr indent="-330200" lvl="5" marL="27432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6pPr>
            <a:lvl7pPr indent="-330200" lvl="6" marL="32004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7pPr>
            <a:lvl8pPr indent="-330200" lvl="7" marL="36576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8pPr>
            <a:lvl9pPr indent="-330200" lvl="8" marL="4114800" algn="l">
              <a:spcBef>
                <a:spcPts val="400"/>
              </a:spcBef>
              <a:spcAft>
                <a:spcPts val="0"/>
              </a:spcAft>
              <a:buSzPts val="1600"/>
              <a:buChar char="∙"/>
              <a:defRPr sz="1600"/>
            </a:lvl9pPr>
          </a:lstStyle>
          <a:p/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 showMasterSp="0" type="titleOnly">
  <p:cSld name="TITLE_ONLY">
    <p:spTree>
      <p:nvGrpSpPr>
        <p:cNvPr id="36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Google Shape;37;p3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37" name="Google Shape;37;p3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Google Shape;38;p31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pic>
        <p:nvPicPr>
          <p:cNvPr descr="citi-r_2c-blu_pos_rgb" id="39" name="Google Shape;39;p31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31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1" name="Google Shape;41;p31"/>
          <p:cNvSpPr txBox="1"/>
          <p:nvPr>
            <p:ph idx="12" type="sldNum"/>
          </p:nvPr>
        </p:nvSpPr>
        <p:spPr>
          <a:xfrm>
            <a:off x="76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l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9798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Blank">
  <p:cSld name="Blank">
    <p:spTree>
      <p:nvGrpSpPr>
        <p:cNvPr id="42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Google Shape;43;p3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3" imgH="1587" imgW="1587" progId="TCLayout.ActiveDocument.1" spid="_x0000_s1">
                  <p:embed/>
                </p:oleObj>
              </mc:Choice>
              <mc:Fallback>
                <p:oleObj r:id="rId4" imgH="1587" imgW="1587" progId="TCLayout.ActiveDocument.1">
                  <p:embed/>
                  <p:pic>
                    <p:nvPicPr>
                      <p:cNvPr id="43" name="Google Shape;43;p3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ntent with Caption" type="objTx">
  <p:cSld name="OBJECT_WITH_CAPTION_TEXT">
    <p:spTree>
      <p:nvGrpSpPr>
        <p:cNvPr id="44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3"/>
          <p:cNvSpPr txBox="1"/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b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sz="20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6" name="Google Shape;46;p33"/>
          <p:cNvSpPr txBox="1"/>
          <p:nvPr>
            <p:ph idx="1" type="body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431800" lvl="0" marL="457200" algn="l">
              <a:spcBef>
                <a:spcPts val="2400"/>
              </a:spcBef>
              <a:spcAft>
                <a:spcPts val="0"/>
              </a:spcAft>
              <a:buSzPts val="3200"/>
              <a:buChar char="∙"/>
              <a:defRPr sz="3200"/>
            </a:lvl1pPr>
            <a:lvl2pPr indent="-406400" lvl="1" marL="914400" algn="l">
              <a:spcBef>
                <a:spcPts val="700"/>
              </a:spcBef>
              <a:spcAft>
                <a:spcPts val="0"/>
              </a:spcAft>
              <a:buSzPts val="2800"/>
              <a:buChar char="–"/>
              <a:defRPr sz="2800"/>
            </a:lvl2pPr>
            <a:lvl3pPr indent="-381000" lvl="2" marL="1371600" algn="l">
              <a:spcBef>
                <a:spcPts val="600"/>
              </a:spcBef>
              <a:spcAft>
                <a:spcPts val="0"/>
              </a:spcAft>
              <a:buSzPts val="2400"/>
              <a:buChar char="∙"/>
              <a:defRPr sz="2400"/>
            </a:lvl3pPr>
            <a:lvl4pPr indent="-355600" lvl="3" marL="1828800" algn="l">
              <a:spcBef>
                <a:spcPts val="500"/>
              </a:spcBef>
              <a:spcAft>
                <a:spcPts val="0"/>
              </a:spcAft>
              <a:buSzPts val="2000"/>
              <a:buChar char="–"/>
              <a:defRPr sz="2000"/>
            </a:lvl4pPr>
            <a:lvl5pPr indent="-355600" lvl="4" marL="22860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5pPr>
            <a:lvl6pPr indent="-355600" lvl="5" marL="27432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6pPr>
            <a:lvl7pPr indent="-355600" lvl="6" marL="32004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7pPr>
            <a:lvl8pPr indent="-355600" lvl="7" marL="36576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8pPr>
            <a:lvl9pPr indent="-355600" lvl="8" marL="4114800" algn="l">
              <a:spcBef>
                <a:spcPts val="500"/>
              </a:spcBef>
              <a:spcAft>
                <a:spcPts val="0"/>
              </a:spcAft>
              <a:buSzPts val="2000"/>
              <a:buChar char="∙"/>
              <a:defRPr sz="2000"/>
            </a:lvl9pPr>
          </a:lstStyle>
          <a:p/>
        </p:txBody>
      </p:sp>
      <p:sp>
        <p:nvSpPr>
          <p:cNvPr id="47" name="Google Shape;47;p33"/>
          <p:cNvSpPr txBox="1"/>
          <p:nvPr>
            <p:ph idx="2" type="body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algn="l">
              <a:spcBef>
                <a:spcPts val="1050"/>
              </a:spcBef>
              <a:spcAft>
                <a:spcPts val="0"/>
              </a:spcAft>
              <a:buSzPts val="1400"/>
              <a:buNone/>
              <a:defRPr sz="1400"/>
            </a:lvl1pPr>
            <a:lvl2pPr indent="-228600" lvl="1" marL="9144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/>
            </a:lvl9pPr>
          </a:lstStyle>
          <a:p/>
        </p:txBody>
      </p:sp>
    </p:spTree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7.xml"/><Relationship Id="rId10" Type="http://schemas.openxmlformats.org/officeDocument/2006/relationships/slideLayout" Target="../slideLayouts/slideLayout6.xml"/><Relationship Id="rId1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8.xml"/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9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0.xml"/><Relationship Id="rId17" Type="http://schemas.openxmlformats.org/officeDocument/2006/relationships/theme" Target="../theme/theme1.xml"/><Relationship Id="rId1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.xml"/><Relationship Id="rId6" Type="http://schemas.openxmlformats.org/officeDocument/2006/relationships/slideLayout" Target="../slideLayouts/slideLayout2.xml"/><Relationship Id="rId18" Type="http://schemas.openxmlformats.org/officeDocument/2006/relationships/vmlDrawing" Target="../drawings/vmlDrawing1.vml"/><Relationship Id="rId7" Type="http://schemas.openxmlformats.org/officeDocument/2006/relationships/slideLayout" Target="../slideLayouts/slideLayout3.xml"/><Relationship Id="rId8" Type="http://schemas.openxmlformats.org/officeDocument/2006/relationships/slideLayout" Target="../slideLayouts/slideLayout4.xml"/></Relationships>
</file>

<file path=ppt/slideMasters/_rels/slideMaster2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4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2.xml"/><Relationship Id="rId1" Type="http://schemas.openxmlformats.org/officeDocument/2006/relationships/oleObject" Target="../embeddings/oleObject6.bin"/><Relationship Id="rId2" Type="http://schemas.openxmlformats.org/officeDocument/2006/relationships/oleObject" Target="../embeddings/oleObject6.bin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9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34.xml"/><Relationship Id="rId17" Type="http://schemas.openxmlformats.org/officeDocument/2006/relationships/vmlDrawing" Target="../drawings/vmlDrawing2.vml"/><Relationship Id="rId16" Type="http://schemas.openxmlformats.org/officeDocument/2006/relationships/theme" Target="../theme/theme6.xml"/><Relationship Id="rId5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8.xml"/></Relationships>
</file>

<file path=ppt/slideMasters/_rels/slideMaster4.x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9.xml"/><Relationship Id="rId6" Type="http://schemas.openxmlformats.org/officeDocument/2006/relationships/theme" Target="../theme/theme3.xml"/></Relationships>
</file>

<file path=ppt/slideMasters/_rels/slideMaster5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47.xml"/><Relationship Id="rId1" Type="http://schemas.openxmlformats.org/officeDocument/2006/relationships/oleObject" Target="../embeddings/oleObject8.bin"/><Relationship Id="rId2" Type="http://schemas.openxmlformats.org/officeDocument/2006/relationships/oleObject" Target="../embeddings/oleObject8.bin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9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49.xml"/><Relationship Id="rId17" Type="http://schemas.openxmlformats.org/officeDocument/2006/relationships/vmlDrawing" Target="../drawings/vmlDrawing3.vml"/><Relationship Id="rId16" Type="http://schemas.openxmlformats.org/officeDocument/2006/relationships/theme" Target="../theme/theme2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9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1" imgH="1587" imgW="1587" progId="TCLayout.ActiveDocument.1" spid="_x0000_s1">
                  <p:embed/>
                </p:oleObj>
              </mc:Choice>
              <mc:Fallback>
                <p:oleObj r:id="rId2" imgH="1587" imgW="1587" progId="TCLayout.ActiveDocument.1">
                  <p:embed/>
                  <p:pic>
                    <p:nvPicPr>
                      <p:cNvPr id="10" name="Google Shape;10;p1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11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spcBef>
                <a:spcPts val="10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17500" lvl="1" marL="914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17500" lvl="2" marL="1371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17500" lvl="3" marL="1828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7500" lvl="4" marL="22860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cxnSp>
        <p:nvCxnSpPr>
          <p:cNvPr id="12" name="Google Shape;12;p11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sp>
        <p:nvSpPr>
          <p:cNvPr id="13" name="Google Shape;13;p11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descr="citi-r_2c-blu_pos_rgb" id="14" name="Google Shape;14;p1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5"/>
    <p:sldLayoutId id="2147483650" r:id="rId6"/>
    <p:sldLayoutId id="2147483651" r:id="rId7"/>
    <p:sldLayoutId id="2147483652" r:id="rId8"/>
    <p:sldLayoutId id="2147483653" r:id="rId9"/>
    <p:sldLayoutId id="2147483654" r:id="rId10"/>
    <p:sldLayoutId id="2147483655" r:id="rId11"/>
    <p:sldLayoutId id="2147483656" r:id="rId12"/>
    <p:sldLayoutId id="2147483657" r:id="rId13"/>
    <p:sldLayoutId id="2147483658" r:id="rId14"/>
    <p:sldLayoutId id="2147483659" r:id="rId15"/>
    <p:sldLayoutId id="2147483660" r:id="rId16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58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spcBef>
                <a:spcPts val="10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17500" lvl="1" marL="914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17500" lvl="2" marL="1371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17500" lvl="3" marL="1828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7500" lvl="4" marL="22860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cxnSp>
        <p:nvCxnSpPr>
          <p:cNvPr id="60" name="Google Shape;60;p13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sp>
        <p:nvSpPr>
          <p:cNvPr id="61" name="Google Shape;61;p13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descr="citi-r_2c-blu_pos_rgb" id="62" name="Google Shape;62;p13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106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Google Shape;107;p37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1" imgH="1587" imgW="1587" progId="TCLayout.ActiveDocument.1" spid="_x0000_s1">
                  <p:embed/>
                </p:oleObj>
              </mc:Choice>
              <mc:Fallback>
                <p:oleObj r:id="rId2" imgH="1587" imgW="1587" progId="TCLayout.ActiveDocument.1">
                  <p:embed/>
                  <p:pic>
                    <p:nvPicPr>
                      <p:cNvPr id="107" name="Google Shape;107;p37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Google Shape;108;p37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spcBef>
                <a:spcPts val="10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17500" lvl="1" marL="914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17500" lvl="2" marL="1371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17500" lvl="3" marL="1828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7500" lvl="4" marL="22860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cxnSp>
        <p:nvCxnSpPr>
          <p:cNvPr id="109" name="Google Shape;109;p37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sp>
        <p:nvSpPr>
          <p:cNvPr id="110" name="Google Shape;110;p37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descr="citi-r_2c-blu_pos_rgb" id="111" name="Google Shape;111;p37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153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4" name="Google Shape;154;p49"/>
          <p:cNvCxnSpPr/>
          <p:nvPr/>
        </p:nvCxnSpPr>
        <p:spPr>
          <a:xfrm>
            <a:off x="141288" y="457200"/>
            <a:ext cx="8866187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sp>
        <p:nvSpPr>
          <p:cNvPr id="155" name="Google Shape;155;p49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spcBef>
                <a:spcPts val="10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17500" lvl="1" marL="914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17500" lvl="2" marL="1371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17500" lvl="3" marL="1828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7500" lvl="4" marL="22860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cxnSp>
        <p:nvCxnSpPr>
          <p:cNvPr id="156" name="Google Shape;156;p49"/>
          <p:cNvCxnSpPr/>
          <p:nvPr/>
        </p:nvCxnSpPr>
        <p:spPr>
          <a:xfrm>
            <a:off x="141288" y="6400800"/>
            <a:ext cx="8866187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pic>
        <p:nvPicPr>
          <p:cNvPr descr="citi-r_2c-blu_pos_rgb" id="157" name="Google Shape;157;p49"/>
          <p:cNvPicPr preferRelativeResize="0"/>
          <p:nvPr/>
        </p:nvPicPr>
        <p:blipFill rotWithShape="1">
          <a:blip r:embed="rId1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49"/>
          <p:cNvSpPr txBox="1"/>
          <p:nvPr>
            <p:ph type="title"/>
          </p:nvPr>
        </p:nvSpPr>
        <p:spPr>
          <a:xfrm>
            <a:off x="141288" y="6032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folHlink="folHlink" hlink="hlink"/>
  <p:sldLayoutIdLst>
    <p:sldLayoutId id="2147483687" r:id="rId2"/>
    <p:sldLayoutId id="2147483688" r:id="rId3"/>
    <p:sldLayoutId id="2147483689" r:id="rId4"/>
    <p:sldLayoutId id="2147483690" r:id="rId5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172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3" name="Google Shape;173;p54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Requires="v">
                <p:oleObj r:id="rId1" imgH="1587" imgW="1587" progId="TCLayout.ActiveDocument.1" spid="_x0000_s1">
                  <p:embed/>
                </p:oleObj>
              </mc:Choice>
              <mc:Fallback>
                <p:oleObj r:id="rId2" imgH="1587" imgW="1587" progId="TCLayout.ActiveDocument.1">
                  <p:embed/>
                  <p:pic>
                    <p:nvPicPr>
                      <p:cNvPr id="173" name="Google Shape;173;p54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" name="Google Shape;174;p54"/>
          <p:cNvSpPr txBox="1"/>
          <p:nvPr>
            <p:ph idx="1" type="body"/>
          </p:nvPr>
        </p:nvSpPr>
        <p:spPr>
          <a:xfrm>
            <a:off x="141288" y="1295400"/>
            <a:ext cx="8861425" cy="48768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317500" lvl="0" marL="457200" marR="0" rtl="0" algn="l">
              <a:spcBef>
                <a:spcPts val="10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17500" lvl="1" marL="914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17500" lvl="2" marL="1371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17500" lvl="3" marL="1828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–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7500" lvl="4" marL="22860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17500" lvl="5" marL="27432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17500" lvl="6" marL="32004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17500" lvl="7" marL="36576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17500" lvl="8" marL="4114800" marR="0" rtl="0" algn="l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∙"/>
              <a:defRPr b="0" i="0" sz="1400" u="none" cap="none" strike="noStrike">
                <a:solidFill>
                  <a:srgbClr val="53565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cxnSp>
        <p:nvCxnSpPr>
          <p:cNvPr id="175" name="Google Shape;175;p54"/>
          <p:cNvCxnSpPr/>
          <p:nvPr/>
        </p:nvCxnSpPr>
        <p:spPr>
          <a:xfrm>
            <a:off x="141288" y="609600"/>
            <a:ext cx="8861425" cy="0"/>
          </a:xfrm>
          <a:prstGeom prst="straightConnector1">
            <a:avLst/>
          </a:prstGeom>
          <a:noFill/>
          <a:ln cap="flat" cmpd="sng" w="9525">
            <a:solidFill>
              <a:schemeClr val="dk2"/>
            </a:solidFill>
            <a:prstDash val="solid"/>
            <a:round/>
            <a:headEnd len="med" w="med" type="none"/>
            <a:tailEnd len="med" w="med" type="none"/>
          </a:ln>
        </p:spPr>
      </p:cxnSp>
      <p:sp>
        <p:nvSpPr>
          <p:cNvPr id="176" name="Google Shape;176;p54"/>
          <p:cNvSpPr txBox="1"/>
          <p:nvPr>
            <p:ph type="title"/>
          </p:nvPr>
        </p:nvSpPr>
        <p:spPr>
          <a:xfrm>
            <a:off x="141288" y="155575"/>
            <a:ext cx="8859837" cy="377825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400" u="none" cap="none" strike="noStrik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pic>
        <p:nvPicPr>
          <p:cNvPr descr="citi-r_2c-blu_pos_rgb" id="177" name="Google Shape;177;p54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8599488" y="6569075"/>
            <a:ext cx="474662" cy="273050"/>
          </a:xfrm>
          <a:prstGeom prst="rect">
            <a:avLst/>
          </a:prstGeom>
          <a:noFill/>
          <a:ln>
            <a:noFill/>
          </a:ln>
        </p:spPr>
      </p:pic>
    </p:spTree>
  </p:cSld>
  <p:clrMap accent1="accent1" accent2="accent2" accent3="accent3" accent4="accent4" accent5="accent5" accent6="accent6" bg1="lt1" bg2="dk2" tx1="dk1" tx2="lt2" folHlink="folHlink" hlink="hlink"/>
  <p:sldLayoutIdLst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</p:sldLayoutIdLs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7.jpg"/><Relationship Id="rId4" Type="http://schemas.openxmlformats.org/officeDocument/2006/relationships/image" Target="../media/image3.png"/><Relationship Id="rId5" Type="http://schemas.openxmlformats.org/officeDocument/2006/relationships/image" Target="../media/image4.png"/></Relationships>
</file>

<file path=ppt/slides/_rels/slide1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7.jpg"/><Relationship Id="rId4" Type="http://schemas.openxmlformats.org/officeDocument/2006/relationships/image" Target="../media/image3.png"/><Relationship Id="rId5" Type="http://schemas.openxmlformats.org/officeDocument/2006/relationships/image" Target="../media/image4.png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9.jpg"/><Relationship Id="rId4" Type="http://schemas.openxmlformats.org/officeDocument/2006/relationships/image" Target="../media/image3.png"/><Relationship Id="rId5" Type="http://schemas.openxmlformats.org/officeDocument/2006/relationships/image" Target="../media/image6.png"/><Relationship Id="rId6" Type="http://schemas.openxmlformats.org/officeDocument/2006/relationships/image" Target="../media/image5.png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8.png"/></Relationships>
</file>

<file path=ppt/slides/_rels/slide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0.png"/><Relationship Id="rId4" Type="http://schemas.openxmlformats.org/officeDocument/2006/relationships/image" Target="../media/image13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/Relationships>
</file>

<file path=ppt/slides/_rels/slide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23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" name="Google Shape;224;p1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-31898" y="4430"/>
            <a:ext cx="918653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1"/>
          <p:cNvSpPr/>
          <p:nvPr/>
        </p:nvSpPr>
        <p:spPr>
          <a:xfrm>
            <a:off x="-40117" y="4431"/>
            <a:ext cx="9202969" cy="6857999"/>
          </a:xfrm>
          <a:prstGeom prst="rect">
            <a:avLst/>
          </a:prstGeom>
          <a:gradFill>
            <a:gsLst>
              <a:gs pos="0">
                <a:srgbClr val="0059A4">
                  <a:alpha val="96862"/>
                </a:srgbClr>
              </a:gs>
              <a:gs pos="100000">
                <a:srgbClr val="00A66D">
                  <a:alpha val="74901"/>
                </a:srgbClr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1"/>
          <p:cNvSpPr/>
          <p:nvPr/>
        </p:nvSpPr>
        <p:spPr>
          <a:xfrm>
            <a:off x="163756" y="515185"/>
            <a:ext cx="8789415" cy="4670750"/>
          </a:xfrm>
          <a:prstGeom prst="rect">
            <a:avLst/>
          </a:prstGeom>
          <a:noFill/>
          <a:ln>
            <a:noFill/>
          </a:ln>
        </p:spPr>
        <p:txBody>
          <a:bodyPr anchorCtr="0" anchor="ctr" bIns="26775" lIns="26775" spcFirstLastPara="1" rIns="26775" wrap="square" tIns="26775">
            <a:spAutoFit/>
          </a:bodyPr>
          <a:lstStyle/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45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How To Catch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eople who Cheat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 Stock Market!</a:t>
            </a:r>
            <a:endParaRPr/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4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4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4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MIT Fintech Challenge</a:t>
            </a:r>
            <a:endParaRPr/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ebruary 22</a:t>
            </a:r>
            <a:r>
              <a:rPr b="1" baseline="30000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d</a:t>
            </a: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2020</a:t>
            </a:r>
            <a:endParaRPr b="1" i="0" sz="2400" u="none" cap="none" strike="noStrik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7" name="Google Shape;227;p1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3504885" y="5149329"/>
            <a:ext cx="2169535" cy="1491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8" name="Google Shape;228;p1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7571168" y="6184443"/>
            <a:ext cx="1382003" cy="4564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330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32" name="Google Shape;332;p10"/>
          <p:cNvGrpSpPr/>
          <p:nvPr/>
        </p:nvGrpSpPr>
        <p:grpSpPr>
          <a:xfrm>
            <a:off x="177293" y="2234191"/>
            <a:ext cx="8789415" cy="2110208"/>
            <a:chOff x="177293" y="3388780"/>
            <a:chExt cx="8789415" cy="2110208"/>
          </a:xfrm>
        </p:grpSpPr>
        <p:sp>
          <p:nvSpPr>
            <p:cNvPr id="333" name="Google Shape;333;p10"/>
            <p:cNvSpPr/>
            <p:nvPr/>
          </p:nvSpPr>
          <p:spPr>
            <a:xfrm>
              <a:off x="177293" y="3388780"/>
              <a:ext cx="8789415" cy="746598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26775" lIns="26775" spcFirstLastPara="1" rIns="26775" wrap="square" tIns="26775">
              <a:spAutoFit/>
            </a:bodyPr>
            <a:lstStyle/>
            <a:p>
              <a:pPr indent="0" lvl="0" marL="0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lang="en-US" sz="45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Q&amp;A</a:t>
              </a:r>
              <a:endParaRPr sz="4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34" name="Google Shape;334;p10"/>
            <p:cNvCxnSpPr/>
            <p:nvPr/>
          </p:nvCxnSpPr>
          <p:spPr>
            <a:xfrm>
              <a:off x="4434397" y="4493362"/>
              <a:ext cx="275205" cy="0"/>
            </a:xfrm>
            <a:prstGeom prst="straightConnector1">
              <a:avLst/>
            </a:prstGeom>
            <a:noFill/>
            <a:ln cap="flat" cmpd="sng" w="50800">
              <a:solidFill>
                <a:srgbClr val="FFFFFF"/>
              </a:solidFill>
              <a:prstDash val="solid"/>
              <a:miter lim="400000"/>
              <a:headEnd len="sm" w="sm" type="none"/>
              <a:tailEnd len="sm" w="sm" type="none"/>
            </a:ln>
          </p:spPr>
        </p:cxnSp>
        <p:sp>
          <p:nvSpPr>
            <p:cNvPr id="335" name="Google Shape;335;p10"/>
            <p:cNvSpPr/>
            <p:nvPr/>
          </p:nvSpPr>
          <p:spPr>
            <a:xfrm>
              <a:off x="177293" y="4752390"/>
              <a:ext cx="8789415" cy="746598"/>
            </a:xfrm>
            <a:prstGeom prst="rect">
              <a:avLst/>
            </a:prstGeom>
            <a:noFill/>
            <a:ln>
              <a:noFill/>
            </a:ln>
          </p:spPr>
          <p:txBody>
            <a:bodyPr anchorCtr="0" anchor="ctr" bIns="26775" lIns="26775" spcFirstLastPara="1" rIns="26775" wrap="square" tIns="26775">
              <a:spAutoFit/>
            </a:bodyPr>
            <a:lstStyle/>
            <a:p>
              <a:pPr indent="0" lvl="0" marL="0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b="1" lang="en-US" sz="45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Thank you</a:t>
              </a:r>
              <a:endParaRPr sz="4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33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Google Shape;234;p2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-31898" y="4430"/>
            <a:ext cx="918653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5" name="Google Shape;235;p2"/>
          <p:cNvSpPr/>
          <p:nvPr/>
        </p:nvSpPr>
        <p:spPr>
          <a:xfrm>
            <a:off x="-40117" y="4431"/>
            <a:ext cx="9202969" cy="6857999"/>
          </a:xfrm>
          <a:prstGeom prst="rect">
            <a:avLst/>
          </a:prstGeom>
          <a:gradFill>
            <a:gsLst>
              <a:gs pos="0">
                <a:srgbClr val="0059A4">
                  <a:alpha val="96862"/>
                </a:srgbClr>
              </a:gs>
              <a:gs pos="100000">
                <a:srgbClr val="00A66D">
                  <a:alpha val="74901"/>
                </a:srgbClr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6" name="Google Shape;236;p2"/>
          <p:cNvSpPr/>
          <p:nvPr/>
        </p:nvSpPr>
        <p:spPr>
          <a:xfrm>
            <a:off x="163756" y="515185"/>
            <a:ext cx="8789415" cy="4670750"/>
          </a:xfrm>
          <a:prstGeom prst="rect">
            <a:avLst/>
          </a:prstGeom>
          <a:noFill/>
          <a:ln>
            <a:noFill/>
          </a:ln>
        </p:spPr>
        <p:txBody>
          <a:bodyPr anchorCtr="0" anchor="ctr" bIns="26775" lIns="26775" spcFirstLastPara="1" rIns="26775" wrap="square" tIns="26775">
            <a:spAutoFit/>
          </a:bodyPr>
          <a:lstStyle/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45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How </a:t>
            </a:r>
            <a:r>
              <a:rPr b="1" i="0" lang="en-US" sz="4500" u="none" cap="none" strike="noStrike">
                <a:solidFill>
                  <a:srgbClr val="34495E"/>
                </a:solidFill>
                <a:latin typeface="Arial"/>
                <a:ea typeface="Arial"/>
                <a:cs typeface="Arial"/>
                <a:sym typeface="Arial"/>
              </a:rPr>
              <a:t>To Catch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eople </a:t>
            </a:r>
            <a:r>
              <a:rPr b="1" i="0" lang="en-US" sz="4500" u="none" cap="none" strike="noStrike">
                <a:solidFill>
                  <a:srgbClr val="34495E"/>
                </a:solidFill>
                <a:latin typeface="Arial"/>
                <a:ea typeface="Arial"/>
                <a:cs typeface="Arial"/>
                <a:sym typeface="Arial"/>
              </a:rPr>
              <a:t>who</a:t>
            </a: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Cheat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5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he Stock Market!</a:t>
            </a:r>
            <a:endParaRPr/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MIT Fintech Challenge</a:t>
            </a:r>
            <a:endParaRPr/>
          </a:p>
          <a:p>
            <a:pPr indent="0" lvl="0" marL="0" marR="0" rtl="0" algn="just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ebruary 22</a:t>
            </a:r>
            <a:r>
              <a:rPr b="1" baseline="30000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d</a:t>
            </a:r>
            <a:r>
              <a:rPr b="1" i="0" lang="en-US" sz="24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2020</a:t>
            </a:r>
            <a:endParaRPr b="0" i="0" sz="2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37" name="Google Shape;237;p2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3504885" y="5149329"/>
            <a:ext cx="2169535" cy="1491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" name="Google Shape;238;p2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7571168" y="6184443"/>
            <a:ext cx="1382003" cy="4564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42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person using black and gray laptop computer" id="243" name="Google Shape;243;p3"/>
          <p:cNvPicPr preferRelativeResize="0"/>
          <p:nvPr/>
        </p:nvPicPr>
        <p:blipFill rotWithShape="1">
          <a:blip r:embed="rId3">
            <a:alphaModFix/>
          </a:blip>
          <a:srcRect b="0" l="11539" r="3261" t="0"/>
          <a:stretch/>
        </p:blipFill>
        <p:spPr>
          <a:xfrm>
            <a:off x="4572000" y="1"/>
            <a:ext cx="457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4" name="Google Shape;244;p3"/>
          <p:cNvSpPr/>
          <p:nvPr/>
        </p:nvSpPr>
        <p:spPr>
          <a:xfrm>
            <a:off x="-5981" y="0"/>
            <a:ext cx="9144000" cy="6858000"/>
          </a:xfrm>
          <a:prstGeom prst="rect">
            <a:avLst/>
          </a:prstGeom>
          <a:solidFill>
            <a:srgbClr val="000000">
              <a:alpha val="29803"/>
            </a:srgbClr>
          </a:solidFill>
          <a:ln>
            <a:noFill/>
          </a:ln>
        </p:spPr>
        <p:txBody>
          <a:bodyPr anchorCtr="0" anchor="ctr" bIns="26775" lIns="26775" spcFirstLastPara="1" rIns="26775" wrap="square" tIns="26775">
            <a:noAutofit/>
          </a:bodyPr>
          <a:lstStyle/>
          <a:p>
            <a:pPr indent="0" lvl="0" marL="0" marR="0" rtl="0" algn="ctr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3"/>
          <p:cNvSpPr/>
          <p:nvPr/>
        </p:nvSpPr>
        <p:spPr>
          <a:xfrm>
            <a:off x="-5981" y="0"/>
            <a:ext cx="4798114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p3"/>
          <p:cNvSpPr/>
          <p:nvPr/>
        </p:nvSpPr>
        <p:spPr>
          <a:xfrm>
            <a:off x="228600" y="1260491"/>
            <a:ext cx="3225800" cy="513446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000" u="none" cap="none" strike="noStrik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ackground</a:t>
            </a:r>
            <a:endParaRPr b="1" i="0" sz="40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3"/>
          <p:cNvSpPr txBox="1"/>
          <p:nvPr/>
        </p:nvSpPr>
        <p:spPr>
          <a:xfrm>
            <a:off x="300383" y="2074086"/>
            <a:ext cx="3992217" cy="46166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0" i="0" lang="en-US" sz="2400" u="none" cap="none" strike="noStrik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is a Stock Price?</a:t>
            </a:r>
            <a:endParaRPr b="0" i="0" sz="24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8" name="Google Shape;248;p3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-18736" y="12030"/>
            <a:ext cx="1059478" cy="7283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9" name="Google Shape;249;p3"/>
          <p:cNvGrpSpPr/>
          <p:nvPr/>
        </p:nvGrpSpPr>
        <p:grpSpPr>
          <a:xfrm>
            <a:off x="511003" y="3484206"/>
            <a:ext cx="3202581" cy="1143000"/>
            <a:chOff x="929689" y="1981200"/>
            <a:chExt cx="3202581" cy="1143000"/>
          </a:xfrm>
        </p:grpSpPr>
        <p:pic>
          <p:nvPicPr>
            <p:cNvPr id="250" name="Google Shape;250;p3"/>
            <p:cNvPicPr preferRelativeResize="0"/>
            <p:nvPr/>
          </p:nvPicPr>
          <p:blipFill rotWithShape="1">
            <a:blip r:embed="rId5">
              <a:alphaModFix/>
            </a:blip>
            <a:srcRect b="0" l="0" r="56485" t="0"/>
            <a:stretch/>
          </p:blipFill>
          <p:spPr>
            <a:xfrm>
              <a:off x="929689" y="1981200"/>
              <a:ext cx="3202581" cy="1143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51" name="Google Shape;251;p3"/>
            <p:cNvSpPr/>
            <p:nvPr/>
          </p:nvSpPr>
          <p:spPr>
            <a:xfrm>
              <a:off x="978523" y="2438400"/>
              <a:ext cx="1383677" cy="457200"/>
            </a:xfrm>
            <a:prstGeom prst="rect">
              <a:avLst/>
            </a:prstGeom>
            <a:solidFill>
              <a:schemeClr val="lt1"/>
            </a:solidFill>
            <a:ln cap="flat" cmpd="sng" w="25400">
              <a:solidFill>
                <a:schemeClr val="lt1"/>
              </a:solidFill>
              <a:prstDash val="solid"/>
              <a:round/>
              <a:headEnd len="sm" w="sm" type="none"/>
              <a:tailEnd len="sm" w="sm" type="none"/>
            </a:ln>
          </p:spPr>
          <p:txBody>
            <a:bodyPr anchorCtr="0" anchor="ctr" bIns="45700" lIns="91425" spcFirstLastPara="1" rIns="91425" wrap="square" tIns="45700">
              <a:noAutofit/>
            </a:bodyPr>
            <a:lstStyle/>
            <a:p>
              <a:pPr indent="0" lvl="0" marL="0" marR="0" rtl="0" algn="ctr">
                <a:spcBef>
                  <a:spcPts val="0"/>
                </a:spcBef>
                <a:spcAft>
                  <a:spcPts val="0"/>
                </a:spcAft>
                <a:buNone/>
              </a:pPr>
              <a:r>
                <a:t/>
              </a:r>
              <a:endParaRPr b="0" i="0" sz="1400" u="none" cap="none" strike="noStrik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52" name="Google Shape;252;p3"/>
            <p:cNvPicPr preferRelativeResize="0"/>
            <p:nvPr/>
          </p:nvPicPr>
          <p:blipFill rotWithShape="1">
            <a:blip r:embed="rId6">
              <a:alphaModFix/>
            </a:blip>
            <a:srcRect b="0" l="0" r="0" t="0"/>
            <a:stretch/>
          </p:blipFill>
          <p:spPr>
            <a:xfrm>
              <a:off x="1143000" y="2438400"/>
              <a:ext cx="1246044" cy="475369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57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1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9" name="Google Shape;259;p4"/>
          <p:cNvSpPr txBox="1"/>
          <p:nvPr/>
        </p:nvSpPr>
        <p:spPr>
          <a:xfrm>
            <a:off x="410817" y="1093304"/>
            <a:ext cx="8470716" cy="646331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1800" u="none" cap="none" strike="noStrik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hat is a Stock Price REALLY….</a:t>
            </a:r>
            <a:endParaRPr b="0" i="0" sz="18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8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" name="Google Shape;260;p4"/>
          <p:cNvSpPr/>
          <p:nvPr/>
        </p:nvSpPr>
        <p:spPr>
          <a:xfrm>
            <a:off x="228600" y="313767"/>
            <a:ext cx="5283200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3200" u="none" cap="none" strike="noStrik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ackground</a:t>
            </a:r>
            <a:endParaRPr b="1" i="0" sz="32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descr="Image result for equity orderbook&quot;" id="261" name="Google Shape;261;p4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410817" y="1946988"/>
            <a:ext cx="3892180" cy="4734197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Google Shape;262;p4"/>
          <p:cNvSpPr/>
          <p:nvPr/>
        </p:nvSpPr>
        <p:spPr>
          <a:xfrm>
            <a:off x="4970106" y="3044889"/>
            <a:ext cx="827314" cy="615821"/>
          </a:xfrm>
          <a:prstGeom prst="rightArrow">
            <a:avLst>
              <a:gd fmla="val 50000" name="adj1"/>
              <a:gd fmla="val 50000" name="adj2"/>
            </a:avLst>
          </a:prstGeom>
          <a:solidFill>
            <a:srgbClr val="2C3E50"/>
          </a:solidFill>
          <a:ln cap="flat" cmpd="sng" w="9525">
            <a:solidFill>
              <a:srgbClr val="001639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63" name="Google Shape;263;p4"/>
          <p:cNvGraphicFramePr/>
          <p:nvPr/>
        </p:nvGraphicFramePr>
        <p:xfrm>
          <a:off x="6100352" y="3689008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659675"/>
                <a:gridCol w="659675"/>
              </a:tblGrid>
              <a:tr h="23625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cap="none" strike="noStrike">
                          <a:solidFill>
                            <a:srgbClr val="000000"/>
                          </a:solidFill>
                        </a:rPr>
                        <a:t>SHARES</a:t>
                      </a:r>
                      <a:endParaRPr sz="900" u="none" cap="none" strike="noStrike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u="none" cap="none" strike="noStrike">
                          <a:solidFill>
                            <a:srgbClr val="000000"/>
                          </a:solidFill>
                        </a:rPr>
                        <a:t>BID</a:t>
                      </a:r>
                      <a:endParaRPr sz="900" u="none" cap="none" strike="noStrike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 u="none" cap="none" strike="noStrik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75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1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7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6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6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5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18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1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</a:tbl>
          </a:graphicData>
        </a:graphic>
      </p:graphicFrame>
      <p:graphicFrame>
        <p:nvGraphicFramePr>
          <p:cNvPr id="264" name="Google Shape;264;p4"/>
          <p:cNvGraphicFramePr/>
          <p:nvPr/>
        </p:nvGraphicFramePr>
        <p:xfrm>
          <a:off x="7543070" y="256614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659675"/>
                <a:gridCol w="659675"/>
              </a:tblGrid>
              <a:tr h="256125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/>
                        <a:t>ASK</a:t>
                      </a:r>
                      <a:endParaRPr sz="9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/>
                        <a:t>SHARES</a:t>
                      </a:r>
                      <a:endParaRPr sz="9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8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7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6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5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3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5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4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3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2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67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58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52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5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0</a:t>
                      </a:r>
                      <a:endParaRPr b="1" sz="105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69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4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1" name="Google Shape;271;p5"/>
          <p:cNvSpPr/>
          <p:nvPr/>
        </p:nvSpPr>
        <p:spPr>
          <a:xfrm>
            <a:off x="6993462" y="1177472"/>
            <a:ext cx="2006582" cy="5630333"/>
          </a:xfrm>
          <a:prstGeom prst="roundRect">
            <a:avLst>
              <a:gd fmla="val 4258" name="adj"/>
            </a:avLst>
          </a:prstGeom>
          <a:solidFill>
            <a:srgbClr val="3498DB"/>
          </a:solidFill>
          <a:ln cap="flat" cmpd="sng" w="9525">
            <a:solidFill>
              <a:srgbClr val="34495E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5"/>
          <p:cNvSpPr/>
          <p:nvPr/>
        </p:nvSpPr>
        <p:spPr>
          <a:xfrm>
            <a:off x="4724414" y="1180135"/>
            <a:ext cx="2006582" cy="5630333"/>
          </a:xfrm>
          <a:prstGeom prst="roundRect">
            <a:avLst>
              <a:gd fmla="val 4258" name="adj"/>
            </a:avLst>
          </a:prstGeom>
          <a:solidFill>
            <a:srgbClr val="3498DB"/>
          </a:solidFill>
          <a:ln cap="flat" cmpd="sng" w="9525">
            <a:solidFill>
              <a:srgbClr val="34495E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p5"/>
          <p:cNvSpPr/>
          <p:nvPr/>
        </p:nvSpPr>
        <p:spPr>
          <a:xfrm>
            <a:off x="2438419" y="1168138"/>
            <a:ext cx="2006582" cy="5630333"/>
          </a:xfrm>
          <a:prstGeom prst="roundRect">
            <a:avLst>
              <a:gd fmla="val 4258" name="adj"/>
            </a:avLst>
          </a:prstGeom>
          <a:solidFill>
            <a:srgbClr val="3498DB"/>
          </a:solidFill>
          <a:ln cap="flat" cmpd="sng" w="9525">
            <a:solidFill>
              <a:srgbClr val="34495E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5"/>
          <p:cNvSpPr/>
          <p:nvPr/>
        </p:nvSpPr>
        <p:spPr>
          <a:xfrm>
            <a:off x="135486" y="1168182"/>
            <a:ext cx="2006582" cy="5630333"/>
          </a:xfrm>
          <a:prstGeom prst="roundRect">
            <a:avLst>
              <a:gd fmla="val 4258" name="adj"/>
            </a:avLst>
          </a:prstGeom>
          <a:solidFill>
            <a:srgbClr val="3498DB"/>
          </a:solidFill>
          <a:ln cap="flat" cmpd="sng" w="9525">
            <a:solidFill>
              <a:srgbClr val="34495E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p5"/>
          <p:cNvSpPr/>
          <p:nvPr/>
        </p:nvSpPr>
        <p:spPr>
          <a:xfrm>
            <a:off x="228599" y="313767"/>
            <a:ext cx="6097555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4000" u="none" cap="none" strike="noStrik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poofing Example</a:t>
            </a:r>
            <a:endParaRPr b="1" i="0" sz="4000" u="none" cap="none" strike="noStrik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5"/>
          <p:cNvSpPr txBox="1"/>
          <p:nvPr/>
        </p:nvSpPr>
        <p:spPr>
          <a:xfrm>
            <a:off x="6500326" y="154326"/>
            <a:ext cx="2400556" cy="3385542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0" lang="en-US" sz="1800" u="none" cap="none" strike="noStrik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 OWN GOOGLE STOCK AND WANT TO SELL AS HIGH AS POSSIBL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2000" u="none" cap="none" strike="noStrik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7" name="Google Shape;277;p5"/>
          <p:cNvSpPr txBox="1"/>
          <p:nvPr/>
        </p:nvSpPr>
        <p:spPr>
          <a:xfrm>
            <a:off x="193008" y="1227972"/>
            <a:ext cx="1891537" cy="52322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0" i="1" lang="en-US" sz="1400" u="none" cap="none" strike="noStrik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 have an offer of 100 lots at 576.58</a:t>
            </a:r>
            <a:endParaRPr i="1" sz="1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78" name="Google Shape;278;p5"/>
          <p:cNvGraphicFramePr/>
          <p:nvPr/>
        </p:nvGraphicFramePr>
        <p:xfrm>
          <a:off x="265224" y="4497124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43375"/>
                <a:gridCol w="543375"/>
              </a:tblGrid>
              <a:tr h="23625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#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BID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</a:tr>
              <a:tr h="24187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7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1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</a:tbl>
          </a:graphicData>
        </a:graphic>
      </p:graphicFrame>
      <p:graphicFrame>
        <p:nvGraphicFramePr>
          <p:cNvPr id="279" name="Google Shape;279;p5"/>
          <p:cNvGraphicFramePr/>
          <p:nvPr/>
        </p:nvGraphicFramePr>
        <p:xfrm>
          <a:off x="810367" y="2259241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55550"/>
                <a:gridCol w="555550"/>
              </a:tblGrid>
              <a:tr h="10160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ASK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#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5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4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2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6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5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0" name="Google Shape;280;p5"/>
          <p:cNvGraphicFramePr/>
          <p:nvPr/>
        </p:nvGraphicFramePr>
        <p:xfrm>
          <a:off x="2624532" y="4499301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43375"/>
                <a:gridCol w="543375"/>
              </a:tblGrid>
              <a:tr h="23625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#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BID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</a:tr>
              <a:tr h="24187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,3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7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1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</a:tbl>
          </a:graphicData>
        </a:graphic>
      </p:graphicFrame>
      <p:graphicFrame>
        <p:nvGraphicFramePr>
          <p:cNvPr id="281" name="Google Shape;281;p5"/>
          <p:cNvGraphicFramePr/>
          <p:nvPr/>
        </p:nvGraphicFramePr>
        <p:xfrm>
          <a:off x="3195076" y="2193682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55550"/>
                <a:gridCol w="555550"/>
              </a:tblGrid>
              <a:tr h="10160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ASK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#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5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4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2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6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5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2" name="Google Shape;282;p5"/>
          <p:cNvGraphicFramePr/>
          <p:nvPr/>
        </p:nvGraphicFramePr>
        <p:xfrm>
          <a:off x="5399803" y="2208922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55550"/>
                <a:gridCol w="555550"/>
              </a:tblGrid>
              <a:tr h="10160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ASK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/>
                        <a:t>#</a:t>
                      </a:r>
                      <a:endParaRPr sz="800"/>
                    </a:p>
                  </a:txBody>
                  <a:tcPr marT="45725" marB="45725" marR="91450" marL="91450" anchor="ctr">
                    <a:solidFill>
                      <a:srgbClr val="002155"/>
                    </a:solidFill>
                  </a:tcPr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5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8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4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73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2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6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58</a:t>
                      </a:r>
                      <a:endParaRPr b="1" sz="1000">
                        <a:solidFill>
                          <a:schemeClr val="l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0</a:t>
                      </a:r>
                      <a:endParaRPr b="1" sz="1000">
                        <a:solidFill>
                          <a:schemeClr val="l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283" name="Google Shape;283;p5"/>
          <p:cNvSpPr txBox="1"/>
          <p:nvPr/>
        </p:nvSpPr>
        <p:spPr>
          <a:xfrm>
            <a:off x="2495942" y="1195273"/>
            <a:ext cx="1891537" cy="954107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i="1" lang="en-US"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 then add a bid of 20,000 lots at 576.42, to look like a large increase in demand</a:t>
            </a:r>
            <a:endParaRPr i="1" sz="1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5"/>
          <p:cNvSpPr txBox="1"/>
          <p:nvPr/>
        </p:nvSpPr>
        <p:spPr>
          <a:xfrm>
            <a:off x="4781936" y="1274139"/>
            <a:ext cx="1891537" cy="738664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i="1" lang="en-US"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cared, someone else lifts the offer and buys my stock at 576.58</a:t>
            </a:r>
            <a:endParaRPr i="1" sz="1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5"/>
          <p:cNvSpPr txBox="1"/>
          <p:nvPr/>
        </p:nvSpPr>
        <p:spPr>
          <a:xfrm>
            <a:off x="7053232" y="1797359"/>
            <a:ext cx="1891537" cy="4678204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i="1" lang="en-US" sz="3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BOOM!</a:t>
            </a:r>
            <a:endParaRPr/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i="1" sz="3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i="1"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Market trades up at 576.58, and I sell 80 lots of Google Stock.</a:t>
            </a:r>
            <a:endParaRPr/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i="1"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i="1"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 remove my bid…!</a:t>
            </a:r>
            <a:endParaRPr i="1"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86" name="Google Shape;286;p5"/>
          <p:cNvGraphicFramePr/>
          <p:nvPr/>
        </p:nvGraphicFramePr>
        <p:xfrm>
          <a:off x="4862624" y="4514927"/>
          <a:ext cx="3000000" cy="3000000"/>
        </p:xfrm>
        <a:graphic>
          <a:graphicData uri="http://schemas.openxmlformats.org/drawingml/2006/table">
            <a:tbl>
              <a:tblPr bandRow="1" firstRow="1">
                <a:noFill/>
                <a:tableStyleId>{B0F90B08-ABA3-4778-8C1C-1D725FD4D2CB}</a:tableStyleId>
              </a:tblPr>
              <a:tblGrid>
                <a:gridCol w="543375"/>
                <a:gridCol w="543375"/>
              </a:tblGrid>
              <a:tr h="236250"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#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  <a:tc>
                  <a:txBody>
                    <a:bodyPr/>
                    <a:lstStyle/>
                    <a:p>
                      <a:pPr indent="0" lvl="0" marL="0" marR="0" rt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>
                          <a:solidFill>
                            <a:srgbClr val="000000"/>
                          </a:solidFill>
                        </a:rPr>
                        <a:t>BID</a:t>
                      </a:r>
                      <a:endParaRPr sz="800">
                        <a:solidFill>
                          <a:srgbClr val="000000"/>
                        </a:solidFill>
                      </a:endParaRPr>
                    </a:p>
                  </a:txBody>
                  <a:tcPr marT="45725" marB="45725" marR="91450" marL="91450" anchor="ctr"/>
                </a:tc>
              </a:tr>
              <a:tr h="24187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7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1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0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4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7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8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6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  <a:tr h="162425">
                <a:tc>
                  <a:txBody>
                    <a:bodyPr/>
                    <a:lstStyle/>
                    <a:p>
                      <a:pPr indent="0" lvl="0" marL="0" marR="0" rt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0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  <a:tc>
                  <a:txBody>
                    <a:bodyPr/>
                    <a:lstStyle/>
                    <a:p>
                      <a:pPr indent="0" lvl="0" marL="0" marR="0" rtl="0" algn="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b="1"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76.25</a:t>
                      </a:r>
                      <a:endParaRPr b="1"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T="45725" marB="45725" marR="91450" marL="9145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9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3" name="Google Shape;293;p6"/>
          <p:cNvSpPr/>
          <p:nvPr/>
        </p:nvSpPr>
        <p:spPr>
          <a:xfrm>
            <a:off x="151967" y="2745402"/>
            <a:ext cx="8906934" cy="3937000"/>
          </a:xfrm>
          <a:prstGeom prst="rect">
            <a:avLst/>
          </a:prstGeom>
          <a:solidFill>
            <a:srgbClr val="F2F2F2"/>
          </a:solidFill>
          <a:ln cap="flat" cmpd="sng" w="9525">
            <a:solidFill>
              <a:srgbClr val="34495E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t/>
            </a:r>
            <a:endParaRPr b="0" i="0" sz="14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4" name="Google Shape;294;p6"/>
          <p:cNvSpPr/>
          <p:nvPr/>
        </p:nvSpPr>
        <p:spPr>
          <a:xfrm>
            <a:off x="228600" y="313767"/>
            <a:ext cx="5283200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is is called “Spoofing”</a:t>
            </a:r>
            <a:endParaRPr b="1"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" name="Google Shape;295;p6"/>
          <p:cNvSpPr txBox="1"/>
          <p:nvPr/>
        </p:nvSpPr>
        <p:spPr>
          <a:xfrm>
            <a:off x="228600" y="1348753"/>
            <a:ext cx="8753669" cy="1200329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4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.e. Entering orders with no intent to trade</a:t>
            </a:r>
            <a:endParaRPr/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t is highly illegal, and leads to huge fines for financial institutions!</a:t>
            </a:r>
            <a:endParaRPr b="1"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96" name="Google Shape;296;p6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2022046" y="3052793"/>
            <a:ext cx="5602308" cy="1891330"/>
          </a:xfrm>
          <a:prstGeom prst="rect">
            <a:avLst/>
          </a:prstGeom>
          <a:noFill/>
          <a:ln cap="flat" cmpd="sng" w="12700">
            <a:solidFill>
              <a:srgbClr val="34495E"/>
            </a:solidFill>
            <a:prstDash val="solid"/>
            <a:miter lim="800000"/>
            <a:headEnd len="sm" w="sm" type="none"/>
            <a:tailEnd len="sm" w="sm" type="none"/>
          </a:ln>
        </p:spPr>
      </p:pic>
      <p:pic>
        <p:nvPicPr>
          <p:cNvPr id="297" name="Google Shape;297;p6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1098504" y="5958787"/>
            <a:ext cx="3473496" cy="561720"/>
          </a:xfrm>
          <a:prstGeom prst="rect">
            <a:avLst/>
          </a:prstGeom>
          <a:noFill/>
          <a:ln cap="flat" cmpd="sng" w="12700">
            <a:solidFill>
              <a:srgbClr val="34495E"/>
            </a:solidFill>
            <a:prstDash val="solid"/>
            <a:miter lim="800000"/>
            <a:headEnd len="sm" w="sm" type="none"/>
            <a:tailEnd len="sm" w="sm" type="none"/>
          </a:ln>
        </p:spPr>
      </p:pic>
      <p:pic>
        <p:nvPicPr>
          <p:cNvPr id="298" name="Google Shape;298;p6"/>
          <p:cNvPicPr preferRelativeResize="0"/>
          <p:nvPr/>
        </p:nvPicPr>
        <p:blipFill rotWithShape="1">
          <a:blip r:embed="rId5">
            <a:alphaModFix/>
          </a:blip>
          <a:srcRect b="0" l="0" r="0" t="0"/>
          <a:stretch/>
        </p:blipFill>
        <p:spPr>
          <a:xfrm>
            <a:off x="4823200" y="5292754"/>
            <a:ext cx="4159069" cy="690942"/>
          </a:xfrm>
          <a:prstGeom prst="rect">
            <a:avLst/>
          </a:prstGeom>
          <a:noFill/>
          <a:ln cap="flat" cmpd="sng" w="12700">
            <a:solidFill>
              <a:srgbClr val="34495E"/>
            </a:solidFill>
            <a:prstDash val="solid"/>
            <a:miter lim="800000"/>
            <a:headEnd len="sm" w="sm" type="none"/>
            <a:tailEnd len="sm" w="sm" type="none"/>
          </a:ln>
        </p:spPr>
      </p:pic>
      <p:pic>
        <p:nvPicPr>
          <p:cNvPr id="299" name="Google Shape;299;p6"/>
          <p:cNvPicPr preferRelativeResize="0"/>
          <p:nvPr/>
        </p:nvPicPr>
        <p:blipFill rotWithShape="1">
          <a:blip r:embed="rId6">
            <a:alphaModFix/>
          </a:blip>
          <a:srcRect b="0" l="0" r="0" t="0"/>
          <a:stretch/>
        </p:blipFill>
        <p:spPr>
          <a:xfrm>
            <a:off x="672737" y="5147066"/>
            <a:ext cx="2792090" cy="422003"/>
          </a:xfrm>
          <a:prstGeom prst="rect">
            <a:avLst/>
          </a:prstGeom>
          <a:noFill/>
          <a:ln cap="flat" cmpd="sng" w="12700">
            <a:solidFill>
              <a:srgbClr val="34495E"/>
            </a:solidFill>
            <a:prstDash val="solid"/>
            <a:miter lim="800000"/>
            <a:headEnd len="sm" w="sm" type="none"/>
            <a:tailEnd len="sm" w="sm" type="none"/>
          </a:ln>
        </p:spPr>
      </p:pic>
    </p:spTree>
  </p:cSld>
  <p:clrMapOvr>
    <a:masterClrMapping/>
  </p:clrMapOvr>
  <p:timing>
    <p:tnLst>
      <p:par>
        <p:cTn dur="indefinite" nodeType="tmRoot" restart="never">
          <p:childTnLst>
            <p:seq concurrent="1" nextAc="seek">
              <p:cTn dur="indefinite" id="2" nodeType="mainSeq">
                <p:childTnLst>
                  <p:par>
                    <p:cTn fill="hold">
                      <p:stCondLst>
                        <p:cond delay="indefinite"/>
                      </p:stCondLst>
                      <p:childTnLst>
                        <p:par>
                          <p:cTn fill="hold">
                            <p:stCondLst>
                              <p:cond delay="0"/>
                            </p:stCondLst>
                            <p:childTnLst>
                              <p:par>
                                <p:cTn fill="hold" nodeType="click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fmla="" tm="0">
                                          <p:val>
                                            <p:strVal val="#ppt_y+1"/>
                                          </p:val>
                                        </p:tav>
                                        <p:tav fmla=""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nodeType="with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fmla="" tm="0">
                                          <p:val>
                                            <p:strVal val="#ppt_y+1"/>
                                          </p:val>
                                        </p:tav>
                                        <p:tav fmla=""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nodeType="with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fmla="" tm="0">
                                          <p:val>
                                            <p:strVal val="#ppt_y+1"/>
                                          </p:val>
                                        </p:tav>
                                        <p:tav fmla=""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nodeType="with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/>
                                        <p:tgtEl>
                                          <p:spTgt spid="2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fmla="" tm="0">
                                          <p:val>
                                            <p:strVal val="#ppt_y+1"/>
                                          </p:val>
                                        </p:tav>
                                        <p:tav fmla=""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nodeType="withEffect" presetClass="entr" presetID="2" presetSubtype="4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dur="500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fmla="" tm="0">
                                          <p:val>
                                            <p:strVal val="#ppt_y+1"/>
                                          </p:val>
                                        </p:tav>
                                        <p:tav fmla=""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>
                  <p:tgtEl>
                    <p:sldTgt/>
                  </p:tgtEl>
                </p:cond>
              </p:prevCondLst>
              <p:nextCondLst>
                <p:cond evt="onNext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304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6" name="Google Shape;306;p7"/>
          <p:cNvSpPr/>
          <p:nvPr/>
        </p:nvSpPr>
        <p:spPr>
          <a:xfrm>
            <a:off x="228600" y="313767"/>
            <a:ext cx="5283200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ackathon Challenge</a:t>
            </a:r>
            <a:endParaRPr b="1" sz="4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7" name="Google Shape;307;p7"/>
          <p:cNvSpPr txBox="1"/>
          <p:nvPr/>
        </p:nvSpPr>
        <p:spPr>
          <a:xfrm>
            <a:off x="278296" y="1093304"/>
            <a:ext cx="8450837" cy="5940088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NTEXT:  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poofing is the activity of entering trading orders with no intention to actually trade; to manipulate the market price. This is often done to benefit a traders current positions and increase their PnL.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is is a BIG PROBLEM. It carries financial and reputational risk, and is strictly prohibited by all major financial regulators.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evertheless, companies like Citi execute millions of trade orders every day, and it is impossible to track, observe and analyze every single trading order that is made.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  </a:t>
            </a:r>
            <a:endParaRPr b="1"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o systematically identify trading activity which has no desire to actually trade (i.e. spoofing), that can be applied to huge data sets of trading activity.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312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4" name="Google Shape;314;p8"/>
          <p:cNvSpPr txBox="1"/>
          <p:nvPr/>
        </p:nvSpPr>
        <p:spPr>
          <a:xfrm>
            <a:off x="360015" y="983233"/>
            <a:ext cx="8470716" cy="6663363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HALLENGE</a:t>
            </a:r>
            <a:r>
              <a:rPr b="1"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dentify Spoofing in large sets of trading data.  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e will be providing sample data and pandas dataframe with a simple model. Use this for your analysis – we will assess your accuracy on test data in the same format.</a:t>
            </a:r>
            <a:endParaRPr sz="2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2200"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ELIVERABLES: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AutoNum type="arabicParenR"/>
            </a:pPr>
            <a:r>
              <a:rPr b="1"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 model identifying “Top of Book” spoofing (as shown in the Spoofing example)</a:t>
            </a:r>
            <a:endParaRPr sz="1700"/>
          </a:p>
          <a:p>
            <a:pPr indent="-2286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t/>
            </a:r>
            <a:endParaRPr b="1"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AutoNum type="arabicParenR"/>
            </a:pPr>
            <a:r>
              <a:rPr b="1"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 model identifying 2 other types of spoofing hidden in the data</a:t>
            </a:r>
            <a:endParaRPr sz="1700"/>
          </a:p>
          <a:p>
            <a:pPr indent="-2286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t/>
            </a:r>
            <a:endParaRPr b="1"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AutoNum type="arabicParenR"/>
            </a:pPr>
            <a:r>
              <a:rPr b="1"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 graphical interface, UI, or set of charts that show your results (real-time or historical)</a:t>
            </a:r>
            <a:endParaRPr b="1"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)   A slide deck outlining you approach, as well as thoughts on:</a:t>
            </a:r>
            <a:endParaRPr b="1"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13716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Char char="●"/>
            </a:pPr>
            <a:r>
              <a:rPr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on-quantitative ways of identifying  illegitimate trading (or traders!)</a:t>
            </a:r>
            <a:endParaRPr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13716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Char char="●"/>
            </a:pPr>
            <a:r>
              <a:rPr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deas of policies or procedures that could be implemented  to reduce spoofing (e.g. leveraging psychology or behavioral economics)</a:t>
            </a:r>
            <a:endParaRPr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36550" lvl="0" marL="13716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700"/>
              <a:buFont typeface="Calibri"/>
              <a:buChar char="●"/>
            </a:pPr>
            <a:r>
              <a:rPr lang="en-US" sz="17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e potential benefits and upside to financial firms for implementation</a:t>
            </a:r>
            <a:endParaRPr sz="17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endParaRPr b="1"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1143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t/>
            </a:r>
            <a:endParaRPr b="1"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5" name="Google Shape;315;p8"/>
          <p:cNvSpPr/>
          <p:nvPr/>
        </p:nvSpPr>
        <p:spPr>
          <a:xfrm>
            <a:off x="228600" y="313767"/>
            <a:ext cx="5283200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3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ackathon Challenge</a:t>
            </a:r>
            <a:endParaRPr b="1"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320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9"/>
          <p:cNvSpPr/>
          <p:nvPr/>
        </p:nvSpPr>
        <p:spPr>
          <a:xfrm>
            <a:off x="0" y="-8467"/>
            <a:ext cx="9144000" cy="6858000"/>
          </a:xfrm>
          <a:prstGeom prst="rect">
            <a:avLst/>
          </a:prstGeom>
          <a:gradFill>
            <a:gsLst>
              <a:gs pos="0">
                <a:srgbClr val="0059A4"/>
              </a:gs>
              <a:gs pos="100000">
                <a:srgbClr val="00A66D"/>
              </a:gs>
            </a:gsLst>
            <a:lin ang="0" scaled="0"/>
          </a:gra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2" name="Google Shape;322;p9"/>
          <p:cNvSpPr txBox="1"/>
          <p:nvPr/>
        </p:nvSpPr>
        <p:spPr>
          <a:xfrm>
            <a:off x="410817" y="881629"/>
            <a:ext cx="8470716" cy="347787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ATA:</a:t>
            </a:r>
            <a:endParaRPr sz="1800" u="sng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ttps://github.com/angelajinyq/MIT-Fintech-Challenge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1"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READING: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9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ow To Catch A Spoofer - </a:t>
            </a:r>
            <a:r>
              <a:rPr lang="en-US" sz="1800">
                <a:solidFill>
                  <a:srgbClr val="FEFFFF"/>
                </a:solidFill>
                <a:latin typeface="Calibri"/>
                <a:ea typeface="Calibri"/>
                <a:cs typeface="Calibri"/>
                <a:sym typeface="Calibri"/>
              </a:rPr>
              <a:t>https://</a:t>
            </a:r>
            <a:r>
              <a:rPr lang="en-US" sz="1600">
                <a:solidFill>
                  <a:srgbClr val="FEFFFF"/>
                </a:solidFill>
                <a:latin typeface="Calibri"/>
                <a:ea typeface="Calibri"/>
                <a:cs typeface="Calibri"/>
                <a:sym typeface="Calibri"/>
              </a:rPr>
              <a:t>www.bloomberg.com/graphics/2015-spoofing/</a:t>
            </a:r>
            <a:endParaRPr sz="1800">
              <a:solidFill>
                <a:srgbClr val="FE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500">
              <a:solidFill>
                <a:srgbClr val="FE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>
                <a:solidFill>
                  <a:srgbClr val="FEFFFF"/>
                </a:solidFill>
                <a:latin typeface="Calibri"/>
                <a:ea typeface="Calibri"/>
                <a:cs typeface="Calibri"/>
                <a:sym typeface="Calibri"/>
              </a:rPr>
              <a:t>Financial Surveillance Using Big Data - </a:t>
            </a:r>
            <a:r>
              <a:rPr lang="en-US" sz="1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ttp://www.it.uu.se/edu/course/homepage/projektDV/ht17/project-2017-technical.pdf%200</a:t>
            </a:r>
            <a:endParaRPr b="1"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3600">
              <a:solidFill>
                <a:srgbClr val="FE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1800" u="sng">
                <a:solidFill>
                  <a:srgbClr val="FEFFFF"/>
                </a:solidFill>
                <a:latin typeface="Calibri"/>
                <a:ea typeface="Calibri"/>
                <a:cs typeface="Calibri"/>
                <a:sym typeface="Calibri"/>
              </a:rPr>
              <a:t>THINGS TO THINK ABOUT: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1800">
              <a:solidFill>
                <a:srgbClr val="FE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" name="Google Shape;323;p9"/>
          <p:cNvSpPr/>
          <p:nvPr/>
        </p:nvSpPr>
        <p:spPr>
          <a:xfrm>
            <a:off x="228600" y="313767"/>
            <a:ext cx="5283200" cy="1243551"/>
          </a:xfrm>
          <a:prstGeom prst="rect">
            <a:avLst/>
          </a:prstGeom>
          <a:noFill/>
          <a:ln>
            <a:noFill/>
          </a:ln>
        </p:spPr>
        <p:txBody>
          <a:bodyPr anchorCtr="0" anchor="t" bIns="26775" lIns="26775" spcFirstLastPara="1" rIns="26775" wrap="square" tIns="26775">
            <a:noAutofit/>
          </a:bodyPr>
          <a:lstStyle/>
          <a:p>
            <a:pPr indent="0" lvl="0" marL="0" marR="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US" sz="3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sources</a:t>
            </a:r>
            <a:endParaRPr b="1"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4" name="Google Shape;324;p9"/>
          <p:cNvSpPr txBox="1"/>
          <p:nvPr/>
        </p:nvSpPr>
        <p:spPr>
          <a:xfrm>
            <a:off x="228599" y="4097503"/>
            <a:ext cx="8652933" cy="2400657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Understand what spoofing is and think about how YOU would might cheat the market, before diving in to solutions</a:t>
            </a:r>
            <a:endParaRPr/>
          </a:p>
          <a:p>
            <a:pPr indent="-276225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</a:pPr>
            <a:r>
              <a:t/>
            </a:r>
            <a:endParaRPr sz="10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xplore and familiarize yourself with the data before diving in too deep</a:t>
            </a:r>
            <a:endParaRPr/>
          </a:p>
          <a:p>
            <a:pPr indent="-276225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</a:pPr>
            <a:r>
              <a:t/>
            </a:r>
            <a:endParaRPr sz="10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hink about Repeat Behavior by the same users</a:t>
            </a:r>
            <a:endParaRPr/>
          </a:p>
          <a:p>
            <a:pPr indent="-276225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</a:pPr>
            <a:r>
              <a:t/>
            </a:r>
            <a:endParaRPr sz="10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ome techniques that might be relevant: Naïve Bayes, Logistic Regression, RNN, HMM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276225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50"/>
              <a:buFont typeface="Arial"/>
              <a:buNone/>
            </a:pPr>
            <a:r>
              <a:t/>
            </a:r>
            <a:endParaRPr sz="10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inally, remember… intent is difficult to prove, and genuine mistakes might happen. 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25" name="Google Shape;325;p9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7262464" y="507144"/>
            <a:ext cx="1382003" cy="4564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xmlns:r="http://schemas.openxmlformats.org/officeDocument/2006/relationships" name="9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2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Citi ICG PPT Template (letter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1_ICG_Pres(Letter)">
  <a:themeElements>
    <a:clrScheme name="2_ICG_Pres (Letter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FFFFFF"/>
      </a:accent3>
      <a:accent4>
        <a:srgbClr val="46484C"/>
      </a:accent4>
      <a:accent5>
        <a:srgbClr val="AAADBC"/>
      </a:accent5>
      <a:accent6>
        <a:srgbClr val="8A9BB4"/>
      </a:accent6>
      <a:hlink>
        <a:srgbClr val="00BDF2"/>
      </a:hlink>
      <a:folHlink>
        <a:srgbClr val="99E4F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2-08-29T14:18:37Z</dcterms:created>
  <dc:creator>DC09721</dc:creato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OCOpt">
    <vt:lpwstr>1</vt:lpwstr>
  </property>
  <property fmtid="{D5CDD505-2E9C-101B-9397-08002B2CF9AE}" pid="3" name="Regions">
    <vt:lpwstr>1;#EMEA;#2;#Asia Pacific;#3;#Japan;#4;#North America;#5;#Latin America</vt:lpwstr>
  </property>
  <property fmtid="{D5CDD505-2E9C-101B-9397-08002B2CF9AE}" pid="4" name="TaxonomyHierarchical">
    <vt:lpwstr/>
  </property>
  <property fmtid="{D5CDD505-2E9C-101B-9397-08002B2CF9AE}" pid="5" name="ContentType">
    <vt:lpwstr>GBIP Global Document Content Type</vt:lpwstr>
  </property>
  <property fmtid="{D5CDD505-2E9C-101B-9397-08002B2CF9AE}" pid="6" name="PNSOpt">
    <vt:lpwstr>1s</vt:lpwstr>
  </property>
  <property fmtid="{D5CDD505-2E9C-101B-9397-08002B2CF9AE}" pid="7" name="Pitchbook Compatible">
    <vt:lpwstr>Yes</vt:lpwstr>
  </property>
  <property fmtid="{D5CDD505-2E9C-101B-9397-08002B2CF9AE}" pid="8" name="RightsWATCHMark">
    <vt:lpwstr>7|CITI-No PII-Public|{00000000-0000-0000-0000-000000000000}</vt:lpwstr>
  </property>
</Properties>
</file>